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4"/>
    <p:sldMasterId id="2147483990" r:id="rId5"/>
  </p:sldMasterIdLst>
  <p:notesMasterIdLst>
    <p:notesMasterId r:id="rId18"/>
  </p:notesMasterIdLst>
  <p:handoutMasterIdLst>
    <p:handoutMasterId r:id="rId19"/>
  </p:handoutMasterIdLst>
  <p:sldIdLst>
    <p:sldId id="261" r:id="rId6"/>
    <p:sldId id="510" r:id="rId7"/>
    <p:sldId id="504" r:id="rId8"/>
    <p:sldId id="506" r:id="rId9"/>
    <p:sldId id="497" r:id="rId10"/>
    <p:sldId id="499" r:id="rId11"/>
    <p:sldId id="507" r:id="rId12"/>
    <p:sldId id="503" r:id="rId13"/>
    <p:sldId id="502" r:id="rId14"/>
    <p:sldId id="508" r:id="rId15"/>
    <p:sldId id="509" r:id="rId16"/>
    <p:sldId id="468" r:id="rId17"/>
  </p:sldIdLst>
  <p:sldSz cx="11522075" cy="6480175"/>
  <p:notesSz cx="6858000" cy="9144000"/>
  <p:custDataLst>
    <p:tags r:id="rId20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D8E52778-107B-4F50-AB48-C1AB06CDD309}">
          <p14:sldIdLst>
            <p14:sldId id="261"/>
            <p14:sldId id="510"/>
            <p14:sldId id="504"/>
            <p14:sldId id="506"/>
            <p14:sldId id="497"/>
            <p14:sldId id="499"/>
            <p14:sldId id="507"/>
            <p14:sldId id="503"/>
            <p14:sldId id="502"/>
            <p14:sldId id="508"/>
            <p14:sldId id="509"/>
            <p14:sldId id="468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2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97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Szerző" initials="S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66"/>
    <a:srgbClr val="000000"/>
    <a:srgbClr val="E20074"/>
    <a:srgbClr val="E20000"/>
    <a:srgbClr val="992C99"/>
    <a:srgbClr val="4B4B4B"/>
    <a:srgbClr val="C4C4C4"/>
    <a:srgbClr val="00FFFF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2D1955-A7F1-708E-EE8B-C646FF92ED96}" v="702" dt="2021-06-06T21:55:27.616"/>
    <p1510:client id="{1CBD9A7B-3D45-6FC8-1CC7-29C53DD9D879}" v="130" dt="2021-06-07T13:28:43.7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627" autoAdjust="0"/>
    <p:restoredTop sz="94624" autoAdjust="0"/>
  </p:normalViewPr>
  <p:slideViewPr>
    <p:cSldViewPr snapToGrid="0" snapToObjects="1">
      <p:cViewPr varScale="1">
        <p:scale>
          <a:sx n="118" d="100"/>
          <a:sy n="118" d="100"/>
        </p:scale>
        <p:origin x="320" y="192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21"/>
        <p:guide pos="5318"/>
        <p:guide pos="3697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Tele-GroteskFet"/>
              </a:rPr>
              <a:t>Norbi</a:t>
            </a:r>
            <a:endParaRPr lang="en-US" dirty="0"/>
          </a:p>
          <a:p>
            <a:endParaRPr lang="en-US" dirty="0"/>
          </a:p>
          <a:p>
            <a:r>
              <a:rPr lang="en-US" dirty="0" err="1">
                <a:latin typeface="Tele-GroteskFet"/>
              </a:rPr>
              <a:t>Sziasztok</a:t>
            </a:r>
            <a:r>
              <a:rPr lang="en-US" dirty="0">
                <a:latin typeface="Tele-GroteskFet"/>
              </a:rPr>
              <a:t>!</a:t>
            </a:r>
          </a:p>
          <a:p>
            <a:endParaRPr lang="en-US" dirty="0">
              <a:latin typeface="Tele-GroteskFet"/>
            </a:endParaRPr>
          </a:p>
          <a:p>
            <a:r>
              <a:rPr lang="en-US" dirty="0" err="1">
                <a:latin typeface="Tele-GroteskFet"/>
              </a:rPr>
              <a:t>Üdvözlö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indenkit</a:t>
            </a:r>
            <a:r>
              <a:rPr lang="en-US" dirty="0">
                <a:latin typeface="Tele-GroteskFet"/>
              </a:rPr>
              <a:t> a Java Developer </a:t>
            </a:r>
            <a:r>
              <a:rPr lang="en-US" dirty="0" err="1">
                <a:latin typeface="Tele-GroteskFet"/>
              </a:rPr>
              <a:t>chaptere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evében</a:t>
            </a:r>
            <a:r>
              <a:rPr lang="en-US" dirty="0">
                <a:latin typeface="Tele-GroteskFet"/>
              </a:rPr>
              <a:t>. </a:t>
            </a:r>
            <a:r>
              <a:rPr lang="en-US" dirty="0" err="1">
                <a:latin typeface="Tele-GroteskFet"/>
              </a:rPr>
              <a:t>Bemutatónkba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é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a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émáró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zeretné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beszéln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ektek</a:t>
            </a:r>
            <a:r>
              <a:rPr lang="en-US" dirty="0">
                <a:latin typeface="Tele-GroteskFet"/>
              </a:rPr>
              <a:t>:</a:t>
            </a:r>
            <a:endParaRPr lang="en-US"/>
          </a:p>
          <a:p>
            <a:pPr marL="171450" indent="-171450">
              <a:buFont typeface="Arial" pitchFamily="2" charset="2"/>
              <a:buChar char="•"/>
            </a:pPr>
            <a:r>
              <a:rPr lang="en-US" dirty="0">
                <a:latin typeface="Tele-GroteskFet"/>
              </a:rPr>
              <a:t>A 2020 Q4-ben </a:t>
            </a:r>
            <a:r>
              <a:rPr lang="en-US" dirty="0" err="1">
                <a:latin typeface="Tele-GroteskFet"/>
              </a:rPr>
              <a:t>elvégzet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unkánkról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elér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redményeinkről</a:t>
            </a:r>
            <a:endParaRPr lang="en-US" dirty="0" err="1"/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icsi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rendhagyó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ódo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egragadnám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év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eji</a:t>
            </a:r>
            <a:r>
              <a:rPr lang="en-US" dirty="0">
                <a:latin typeface="Tele-GroteskFet"/>
              </a:rPr>
              <a:t> demo </a:t>
            </a:r>
            <a:r>
              <a:rPr lang="en-US" dirty="0" err="1">
                <a:latin typeface="Tele-GroteskFet"/>
              </a:rPr>
              <a:t>alkalmat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beszélje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ektek</a:t>
            </a:r>
            <a:r>
              <a:rPr lang="en-US" dirty="0">
                <a:latin typeface="Tele-GroteskFet"/>
              </a:rPr>
              <a:t> a 2021-es </a:t>
            </a:r>
            <a:r>
              <a:rPr lang="en-US" dirty="0" err="1">
                <a:latin typeface="Tele-GroteskFet"/>
              </a:rPr>
              <a:t>tervezet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unkákról</a:t>
            </a:r>
            <a:r>
              <a:rPr lang="en-US" dirty="0">
                <a:latin typeface="Tele-GroteskFet"/>
              </a:rPr>
              <a:t> is, </a:t>
            </a:r>
            <a:r>
              <a:rPr lang="en-US" dirty="0" err="1">
                <a:latin typeface="Tele-GroteskFet"/>
              </a:rPr>
              <a:t>mert</a:t>
            </a:r>
          </a:p>
          <a:p>
            <a:pPr lvl="3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Rengeteg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űszak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ejlesztés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unka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vár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ránk</a:t>
            </a:r>
            <a:endParaRPr lang="en-US" dirty="0" err="1">
              <a:latin typeface="Tele-GroteskFet" pitchFamily="2" charset="0"/>
            </a:endParaRPr>
          </a:p>
          <a:p>
            <a:pPr lvl="3">
              <a:buFont typeface="Arial" pitchFamily="2" charset="2"/>
              <a:buChar char="•"/>
            </a:pPr>
            <a:r>
              <a:rPr lang="en-US" dirty="0">
                <a:latin typeface="Tele-GroteskFet"/>
              </a:rPr>
              <a:t>Sok </a:t>
            </a:r>
            <a:r>
              <a:rPr lang="en-US" dirty="0" err="1">
                <a:latin typeface="Tele-GroteskFet"/>
              </a:rPr>
              <a:t>esetbe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em</a:t>
            </a:r>
            <a:r>
              <a:rPr lang="en-US" dirty="0">
                <a:latin typeface="Tele-GroteskFet"/>
              </a:rPr>
              <a:t> is </a:t>
            </a:r>
            <a:r>
              <a:rPr lang="en-US" dirty="0" err="1">
                <a:latin typeface="Tele-GroteskFet"/>
              </a:rPr>
              <a:t>csak</a:t>
            </a:r>
            <a:r>
              <a:rPr lang="en-US" dirty="0">
                <a:latin typeface="Tele-GroteskFet"/>
              </a:rPr>
              <a:t> Tribe-on </a:t>
            </a:r>
            <a:r>
              <a:rPr lang="en-US" dirty="0" err="1">
                <a:latin typeface="Tele-GroteskFet"/>
              </a:rPr>
              <a:t>belül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unkákról</a:t>
            </a:r>
            <a:r>
              <a:rPr lang="en-US" dirty="0">
                <a:latin typeface="Tele-GroteskFet"/>
              </a:rPr>
              <a:t> van </a:t>
            </a:r>
            <a:r>
              <a:rPr lang="en-US" dirty="0" err="1">
                <a:latin typeface="Tele-GroteskFet"/>
              </a:rPr>
              <a:t>szó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hanem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omol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gyüttműködésekrő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ás</a:t>
            </a:r>
            <a:r>
              <a:rPr lang="en-US" dirty="0">
                <a:latin typeface="Tele-GroteskFet"/>
              </a:rPr>
              <a:t> tribe-</a:t>
            </a:r>
            <a:r>
              <a:rPr lang="en-US" dirty="0" err="1">
                <a:latin typeface="Tele-GroteskFet"/>
              </a:rPr>
              <a:t>okkal</a:t>
            </a:r>
          </a:p>
          <a:p>
            <a:pPr lvl="3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agyo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zámítunk</a:t>
            </a:r>
            <a:r>
              <a:rPr lang="en-US" dirty="0">
                <a:latin typeface="Tele-GroteskFet"/>
              </a:rPr>
              <a:t> a chapter </a:t>
            </a:r>
            <a:r>
              <a:rPr lang="en-US" dirty="0" err="1">
                <a:latin typeface="Tele-GroteskFet"/>
              </a:rPr>
              <a:t>kollégáinak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gyüttműködő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partnerekne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egítségére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zekben</a:t>
            </a:r>
            <a:endParaRPr lang="en-US" dirty="0" err="1"/>
          </a:p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t.mm.jjjj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– Streng vertraulich, Vertraulich, Intern – Autor / Thema der Präsentation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13113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57E3DB-ECDD-4E45-9B92-2E95FB003BCD}" type="datetimeFigureOut">
              <a:rPr kumimoji="0" lang="en-US" sz="230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pPr marL="0" marR="0" lvl="0" indent="0" algn="l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7/21</a:t>
            </a:fld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7350" y="687388"/>
            <a:ext cx="6094413" cy="3427412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15525" y="4341521"/>
            <a:ext cx="5026951" cy="4114587"/>
          </a:xfrm>
          <a:noFill/>
        </p:spPr>
        <p:txBody>
          <a:bodyPr>
            <a:normAutofit fontScale="92500" lnSpcReduction="10000"/>
          </a:bodyPr>
          <a:lstStyle/>
          <a:p>
            <a:r>
              <a:rPr lang="en-US" dirty="0">
                <a:latin typeface="Tele-GroteskFet"/>
              </a:rPr>
              <a:t>Norbi</a:t>
            </a:r>
          </a:p>
          <a:p>
            <a:endParaRPr lang="en-US" dirty="0"/>
          </a:p>
          <a:p>
            <a:r>
              <a:rPr lang="en-US" dirty="0">
                <a:latin typeface="Tele-GroteskFet"/>
              </a:rPr>
              <a:t>Itt </a:t>
            </a:r>
            <a:r>
              <a:rPr lang="en-US" dirty="0" err="1">
                <a:latin typeface="Tele-GroteskFet"/>
              </a:rPr>
              <a:t>láthatjátok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már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jó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ismer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űszak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egoldásainkat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ezekbe</a:t>
            </a:r>
            <a:r>
              <a:rPr lang="en-US" dirty="0">
                <a:latin typeface="Tele-GroteskFet"/>
              </a:rPr>
              <a:t> most </a:t>
            </a:r>
            <a:r>
              <a:rPr lang="en-US" dirty="0" err="1">
                <a:latin typeface="Tele-GroteskFet"/>
              </a:rPr>
              <a:t>nem</a:t>
            </a:r>
            <a:r>
              <a:rPr lang="en-US" dirty="0">
                <a:latin typeface="Tele-GroteskFet"/>
              </a:rPr>
              <a:t> is </a:t>
            </a:r>
            <a:r>
              <a:rPr lang="en-US" dirty="0" err="1">
                <a:latin typeface="Tele-GroteskFet"/>
              </a:rPr>
              <a:t>menné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bele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részletesen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csa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mlít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zintjé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orolnám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e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őket</a:t>
            </a:r>
            <a:r>
              <a:rPr lang="en-US" dirty="0">
                <a:latin typeface="Tele-GroteskFet"/>
              </a:rPr>
              <a:t>.</a:t>
            </a:r>
            <a:endParaRPr lang="en-US" dirty="0"/>
          </a:p>
          <a:p>
            <a:endParaRPr lang="en-US" dirty="0"/>
          </a:p>
          <a:p>
            <a:r>
              <a:rPr lang="en-US" dirty="0">
                <a:latin typeface="Tele-GroteskFet"/>
              </a:rPr>
              <a:t>Az </a:t>
            </a:r>
            <a:r>
              <a:rPr lang="en-US" dirty="0" err="1">
                <a:latin typeface="Tele-GroteskFet"/>
              </a:rPr>
              <a:t>első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oszlopban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már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használatba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évő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tandardizált</a:t>
            </a:r>
            <a:r>
              <a:rPr lang="en-US" dirty="0">
                <a:latin typeface="Tele-GroteskFet"/>
              </a:rPr>
              <a:t> uniform </a:t>
            </a:r>
            <a:r>
              <a:rPr lang="en-US" dirty="0" err="1">
                <a:latin typeface="Tele-GroteskFet"/>
              </a:rPr>
              <a:t>megoldásoka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áthatjátok</a:t>
            </a:r>
            <a:r>
              <a:rPr lang="en-US" dirty="0">
                <a:latin typeface="Tele-GroteskFet"/>
              </a:rPr>
              <a:t>, mint</a:t>
            </a:r>
          </a:p>
          <a:p>
            <a:r>
              <a:rPr lang="en-US" dirty="0">
                <a:latin typeface="Tele-GroteskFet"/>
              </a:rPr>
              <a:t>- semantic release</a:t>
            </a:r>
            <a:endParaRPr lang="en-US" dirty="0"/>
          </a:p>
          <a:p>
            <a:r>
              <a:rPr lang="en-US" dirty="0">
                <a:latin typeface="Tele-GroteskFet"/>
              </a:rPr>
              <a:t>- helm3</a:t>
            </a:r>
            <a:endParaRPr lang="en-US" dirty="0"/>
          </a:p>
          <a:p>
            <a:r>
              <a:rPr lang="en-US" dirty="0">
                <a:latin typeface="Tele-GroteskFet"/>
              </a:rPr>
              <a:t>- </a:t>
            </a:r>
            <a:r>
              <a:rPr lang="en-US" dirty="0" err="1">
                <a:latin typeface="Tele-GroteskFet"/>
              </a:rPr>
              <a:t>OpenAP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zoftver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dokumentáció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ablon</a:t>
            </a:r>
            <a:endParaRPr lang="en-US" dirty="0" err="1"/>
          </a:p>
          <a:p>
            <a:r>
              <a:rPr lang="en-US" dirty="0">
                <a:latin typeface="Tele-GroteskFet"/>
              </a:rPr>
              <a:t>- Ingress </a:t>
            </a:r>
            <a:r>
              <a:rPr lang="en-US" dirty="0" err="1">
                <a:latin typeface="Tele-GroteskFet"/>
              </a:rPr>
              <a:t>szintű</a:t>
            </a:r>
            <a:r>
              <a:rPr lang="en-US" dirty="0">
                <a:latin typeface="Tele-GroteskFet"/>
              </a:rPr>
              <a:t> API key </a:t>
            </a:r>
            <a:r>
              <a:rPr lang="en-US" dirty="0" err="1">
                <a:latin typeface="Tele-GroteskFet"/>
              </a:rPr>
              <a:t>kezelés</a:t>
            </a:r>
            <a:endParaRPr lang="en-US" dirty="0" err="1"/>
          </a:p>
          <a:p>
            <a:r>
              <a:rPr lang="en-US" dirty="0">
                <a:latin typeface="Tele-GroteskFet"/>
              </a:rPr>
              <a:t>- Docker JIB</a:t>
            </a:r>
            <a:endParaRPr lang="en-US" dirty="0"/>
          </a:p>
          <a:p>
            <a:r>
              <a:rPr lang="en-US" dirty="0">
                <a:latin typeface="Tele-GroteskFet"/>
              </a:rPr>
              <a:t>- </a:t>
            </a:r>
            <a:r>
              <a:rPr lang="en-US" dirty="0" err="1">
                <a:latin typeface="Tele-GroteskFet"/>
              </a:rPr>
              <a:t>Netca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lapú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űzfa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lenőrzés</a:t>
            </a:r>
            <a:endParaRPr lang="en-US" dirty="0" err="1"/>
          </a:p>
          <a:p>
            <a:r>
              <a:rPr lang="en-US" dirty="0">
                <a:latin typeface="Tele-GroteskFet"/>
              </a:rPr>
              <a:t>- Template project microservice-</a:t>
            </a:r>
            <a:r>
              <a:rPr lang="en-US" dirty="0" err="1">
                <a:latin typeface="Tele-GroteskFet"/>
              </a:rPr>
              <a:t>ekhez</a:t>
            </a:r>
            <a:endParaRPr lang="en-US" dirty="0" err="1"/>
          </a:p>
          <a:p>
            <a:r>
              <a:rPr lang="en-US" dirty="0">
                <a:latin typeface="Tele-GroteskFet"/>
              </a:rPr>
              <a:t>- CI/CD-</a:t>
            </a:r>
            <a:r>
              <a:rPr lang="en-US" dirty="0" err="1">
                <a:latin typeface="Tele-GroteskFet"/>
              </a:rPr>
              <a:t>bő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uttatható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tűzfa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lenőrző</a:t>
            </a:r>
            <a:r>
              <a:rPr lang="en-US" dirty="0">
                <a:latin typeface="Tele-GroteskFet"/>
              </a:rPr>
              <a:t> tool</a:t>
            </a:r>
            <a:endParaRPr lang="en-US" dirty="0"/>
          </a:p>
          <a:p>
            <a:r>
              <a:rPr lang="en-US" dirty="0">
                <a:latin typeface="Tele-GroteskFet"/>
              </a:rPr>
              <a:t>- </a:t>
            </a:r>
            <a:r>
              <a:rPr lang="en-US" dirty="0" err="1">
                <a:latin typeface="Tele-GroteskFet"/>
              </a:rPr>
              <a:t>Zeebe</a:t>
            </a:r>
            <a:r>
              <a:rPr lang="en-US" dirty="0">
                <a:latin typeface="Tele-GroteskFet"/>
              </a:rPr>
              <a:t> workflow manager</a:t>
            </a:r>
            <a:endParaRPr lang="en-US" dirty="0"/>
          </a:p>
          <a:p>
            <a:r>
              <a:rPr lang="en-US" dirty="0">
                <a:latin typeface="Tele-GroteskFet"/>
              </a:rPr>
              <a:t>- </a:t>
            </a:r>
            <a:r>
              <a:rPr lang="en-US" dirty="0" err="1">
                <a:latin typeface="Tele-GroteskFet"/>
              </a:rPr>
              <a:t>OpenAPI</a:t>
            </a:r>
            <a:r>
              <a:rPr lang="en-US" dirty="0">
                <a:latin typeface="Tele-GroteskFet"/>
              </a:rPr>
              <a:t> Interface </a:t>
            </a:r>
            <a:r>
              <a:rPr lang="en-US" dirty="0" err="1">
                <a:latin typeface="Tele-GroteskFet"/>
              </a:rPr>
              <a:t>definíciós</a:t>
            </a:r>
            <a:r>
              <a:rPr lang="en-US" dirty="0">
                <a:latin typeface="Tele-GroteskFet"/>
              </a:rPr>
              <a:t> project</a:t>
            </a:r>
            <a:endParaRPr lang="en-US" dirty="0"/>
          </a:p>
          <a:p>
            <a:endParaRPr lang="en-US" dirty="0"/>
          </a:p>
          <a:p>
            <a:r>
              <a:rPr lang="en-US" dirty="0">
                <a:latin typeface="Tele-GroteskFet"/>
              </a:rPr>
              <a:t>A </a:t>
            </a:r>
            <a:r>
              <a:rPr lang="en-US" dirty="0" err="1">
                <a:latin typeface="Tele-GroteskFet"/>
              </a:rPr>
              <a:t>másodi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oszlopba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pedig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okat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megoldásoka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áthatjátok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ami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ég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fejlesztési</a:t>
            </a:r>
            <a:r>
              <a:rPr lang="en-US" dirty="0">
                <a:latin typeface="Tele-GroteskFet"/>
              </a:rPr>
              <a:t>/</a:t>
            </a:r>
            <a:r>
              <a:rPr lang="en-US" dirty="0" err="1">
                <a:latin typeface="Tele-GroteskFet"/>
              </a:rPr>
              <a:t>bevezetés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ázisba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vannak</a:t>
            </a:r>
            <a:r>
              <a:rPr lang="en-US" dirty="0">
                <a:latin typeface="Tele-GroteskFet"/>
              </a:rPr>
              <a:t>:</a:t>
            </a:r>
            <a:endParaRPr lang="en-US" dirty="0"/>
          </a:p>
          <a:p>
            <a:pPr marL="171450" indent="-171450">
              <a:buFont typeface="Arial" pitchFamily="2" charset="2"/>
              <a:buChar char="•"/>
            </a:pPr>
            <a:r>
              <a:rPr lang="en-US" dirty="0">
                <a:latin typeface="Tele-GroteskFet"/>
              </a:rPr>
              <a:t>Hashi Corp Vault</a:t>
            </a:r>
            <a:endParaRPr lang="en-US" dirty="0"/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múl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egyedév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egnagyobb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gyi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egfontosabb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ejlesztése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e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rétegekre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bontott</a:t>
            </a:r>
            <a:r>
              <a:rPr lang="en-US" dirty="0">
                <a:latin typeface="Tele-GroteskFet"/>
              </a:rPr>
              <a:t> standard logging library, </a:t>
            </a:r>
            <a:r>
              <a:rPr lang="en-US" dirty="0" err="1">
                <a:latin typeface="Tele-GroteskFet"/>
              </a:rPr>
              <a:t>ami</a:t>
            </a:r>
            <a:endParaRPr lang="en-US" dirty="0" err="1"/>
          </a:p>
          <a:p>
            <a:pPr lvl="3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kiküszöböl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ddig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problémáinkat</a:t>
            </a:r>
            <a:endParaRPr lang="en-US">
              <a:latin typeface="Tele-GroteskFet" pitchFamily="2" charset="0"/>
            </a:endParaRPr>
          </a:p>
          <a:p>
            <a:pPr lvl="3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Könnye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doptálható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es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kár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új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akár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eglévő</a:t>
            </a:r>
            <a:r>
              <a:rPr lang="en-US" dirty="0">
                <a:latin typeface="Tele-GroteskFet"/>
              </a:rPr>
              <a:t> DPS </a:t>
            </a:r>
            <a:r>
              <a:rPr lang="en-US" dirty="0" err="1">
                <a:latin typeface="Tele-GroteskFet"/>
              </a:rPr>
              <a:t>fejlesztéseknél</a:t>
            </a:r>
            <a:endParaRPr lang="en-US" dirty="0" err="1"/>
          </a:p>
          <a:p>
            <a:pPr lvl="3">
              <a:buFont typeface="Arial" pitchFamily="2" charset="2"/>
              <a:buChar char="•"/>
            </a:pPr>
            <a:r>
              <a:rPr lang="en-US" dirty="0" err="1">
                <a:latin typeface="Tele-GroteskNor"/>
              </a:rPr>
              <a:t>Ez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jelenleg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erősen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fejlesztés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alatt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áll</a:t>
            </a:r>
            <a:r>
              <a:rPr lang="en-US" dirty="0">
                <a:latin typeface="Tele-GroteskNor"/>
              </a:rPr>
              <a:t>, </a:t>
            </a:r>
            <a:r>
              <a:rPr lang="en-US" dirty="0" err="1">
                <a:latin typeface="Tele-GroteskNor"/>
              </a:rPr>
              <a:t>erről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később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még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lesz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szó</a:t>
            </a:r>
            <a:endParaRPr lang="en-US" dirty="0" err="1"/>
          </a:p>
          <a:p>
            <a:pPr marL="171450" indent="-171450">
              <a:buFont typeface="Arial" pitchFamily="2" charset="2"/>
              <a:buChar char="•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271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Tele-GroteskFet"/>
              </a:rPr>
              <a:t>Norbi</a:t>
            </a:r>
          </a:p>
          <a:p>
            <a:endParaRPr lang="en-US" dirty="0"/>
          </a:p>
          <a:p>
            <a:r>
              <a:rPr lang="en-US" dirty="0">
                <a:latin typeface="Tele-GroteskFet"/>
              </a:rPr>
              <a:t>Ami </a:t>
            </a:r>
            <a:r>
              <a:rPr lang="en-US" dirty="0" err="1">
                <a:latin typeface="Tele-GroteskFet"/>
              </a:rPr>
              <a:t>miat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őző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diá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elsoroltam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megoldásainka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eginkább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z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státus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jelentés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am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utatja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hogyan</a:t>
            </a:r>
            <a:r>
              <a:rPr lang="en-US" dirty="0">
                <a:latin typeface="Tele-GroteskFet"/>
              </a:rPr>
              <a:t> is </a:t>
            </a:r>
            <a:r>
              <a:rPr lang="en-US" dirty="0" err="1">
                <a:latin typeface="Tele-GroteskFet"/>
              </a:rPr>
              <a:t>állun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terjesztésükkel</a:t>
            </a:r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Nem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udom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ennyire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mlékezte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őző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egyedéve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demónkra</a:t>
            </a:r>
            <a:r>
              <a:rPr lang="en-US" dirty="0">
                <a:latin typeface="Tele-GroteskFet"/>
              </a:rPr>
              <a:t>, de </a:t>
            </a:r>
            <a:r>
              <a:rPr lang="en-US" dirty="0" err="1">
                <a:latin typeface="Tele-GroteskFet"/>
              </a:rPr>
              <a:t>jelentő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agentásodá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igyelhető</a:t>
            </a:r>
            <a:r>
              <a:rPr lang="en-US" dirty="0">
                <a:latin typeface="Tele-GroteskFet"/>
              </a:rPr>
              <a:t> meg </a:t>
            </a:r>
            <a:r>
              <a:rPr lang="en-US" dirty="0" err="1">
                <a:latin typeface="Tele-GroteskFet"/>
              </a:rPr>
              <a:t>azóta</a:t>
            </a:r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összességébe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ér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átszik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haladun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ffelé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tandardizált</a:t>
            </a:r>
            <a:r>
              <a:rPr lang="en-US" dirty="0">
                <a:latin typeface="Tele-GroteskFet"/>
              </a:rPr>
              <a:t> DPS-</a:t>
            </a:r>
            <a:r>
              <a:rPr lang="en-US" dirty="0" err="1">
                <a:latin typeface="Tele-GroteskFet"/>
              </a:rPr>
              <a:t>eke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ejlesszünk</a:t>
            </a:r>
            <a:endParaRPr lang="en-US" dirty="0">
              <a:latin typeface="Tele-GroteskFet"/>
            </a:endParaRPr>
          </a:p>
          <a:p>
            <a:pPr marL="171450" indent="-171450">
              <a:buFont typeface="Arial" pitchFamily="2" charset="2"/>
              <a:buChar char="•"/>
            </a:pPr>
            <a:r>
              <a:rPr lang="en-US" dirty="0">
                <a:latin typeface="Tele-GroteskFet"/>
              </a:rPr>
              <a:t>A </a:t>
            </a:r>
            <a:r>
              <a:rPr lang="en-US" dirty="0" err="1">
                <a:latin typeface="Tele-GroteskFet"/>
              </a:rPr>
              <a:t>legalsó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or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ermészetese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ég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ehér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mert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rétegzett</a:t>
            </a:r>
            <a:r>
              <a:rPr lang="en-US" dirty="0">
                <a:latin typeface="Tele-GroteskFet"/>
              </a:rPr>
              <a:t> logging library </a:t>
            </a:r>
            <a:r>
              <a:rPr lang="en-US" dirty="0" err="1">
                <a:latin typeface="Tele-GroteskFet"/>
              </a:rPr>
              <a:t>még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ejleszt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lat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áll</a:t>
            </a:r>
            <a:r>
              <a:rPr lang="en-US" dirty="0">
                <a:latin typeface="Tele-GroteskFet"/>
              </a:rPr>
              <a:t>, de </a:t>
            </a:r>
            <a:r>
              <a:rPr lang="en-US" dirty="0" err="1">
                <a:latin typeface="Tele-GroteskFet"/>
              </a:rPr>
              <a:t>remélhetőleg</a:t>
            </a:r>
            <a:r>
              <a:rPr lang="en-US" dirty="0">
                <a:latin typeface="Tele-GroteskFet"/>
              </a:rPr>
              <a:t> Q1-re </a:t>
            </a:r>
            <a:r>
              <a:rPr lang="en-US" dirty="0" err="1">
                <a:latin typeface="Tele-GroteskFet"/>
              </a:rPr>
              <a:t>már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ém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zineződés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itt</a:t>
            </a:r>
            <a:r>
              <a:rPr lang="en-US" dirty="0">
                <a:latin typeface="Tele-GroteskFet"/>
              </a:rPr>
              <a:t> is </a:t>
            </a:r>
            <a:r>
              <a:rPr lang="en-US" dirty="0" err="1">
                <a:latin typeface="Tele-GroteskFet"/>
              </a:rPr>
              <a:t>tudunk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majd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utatni</a:t>
            </a:r>
            <a:endParaRPr lang="en-US" dirty="0" err="1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0" i="0" u="none" strike="noStrike" kern="1200" cap="none" spc="0" normalizeH="0" baseline="0" noProof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t>tt.mm.jjjj</a:t>
            </a: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0" i="0" u="none" strike="noStrike" kern="1200" cap="none" spc="0" normalizeH="0" baseline="0" noProof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/>
                <a:ea typeface="+mn-ea"/>
                <a:cs typeface="+mn-cs"/>
              </a:rPr>
              <a:t>– Streng vertraulich, Vertraulich, Intern – Autor / Thema der Präsentation</a:t>
            </a: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E97663-D53D-4421-A2F3-0C076A052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61225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7838" y="371475"/>
            <a:ext cx="5902325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Tele-GroteskFet"/>
              </a:rPr>
              <a:t>Balázs</a:t>
            </a:r>
          </a:p>
          <a:p>
            <a:endParaRPr lang="en-US" dirty="0">
              <a:latin typeface="Tele-GroteskFet"/>
            </a:endParaRPr>
          </a:p>
          <a:p>
            <a:r>
              <a:rPr lang="en-US" err="1">
                <a:latin typeface="Tele-GroteskFet"/>
              </a:rPr>
              <a:t>Ehhez</a:t>
            </a:r>
            <a:r>
              <a:rPr lang="en-US" dirty="0">
                <a:latin typeface="Tele-GroteskFet"/>
              </a:rPr>
              <a:t> a </a:t>
            </a:r>
            <a:r>
              <a:rPr lang="en-US" err="1">
                <a:latin typeface="Tele-GroteskFet"/>
              </a:rPr>
              <a:t>diához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kapcsolódóan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szeretném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elmondani</a:t>
            </a:r>
            <a:r>
              <a:rPr lang="en-US" dirty="0">
                <a:latin typeface="Tele-GroteskFet"/>
              </a:rPr>
              <a:t>, </a:t>
            </a:r>
            <a:r>
              <a:rPr lang="en-US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API </a:t>
            </a:r>
            <a:r>
              <a:rPr lang="en-US" err="1">
                <a:latin typeface="Tele-GroteskFet"/>
              </a:rPr>
              <a:t>tesztelő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csapat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távozásával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összefüggésben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milyen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feladataink</a:t>
            </a:r>
            <a:r>
              <a:rPr lang="en-US" dirty="0">
                <a:latin typeface="Tele-GroteskFet"/>
              </a:rPr>
              <a:t> </a:t>
            </a:r>
            <a:r>
              <a:rPr lang="en-US" err="1">
                <a:latin typeface="Tele-GroteskFet"/>
              </a:rPr>
              <a:t>keletkeztek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milyen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vizióink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lettek</a:t>
            </a:r>
            <a:r>
              <a:rPr lang="en-US" dirty="0">
                <a:latin typeface="Tele-GroteskFet"/>
              </a:rPr>
              <a:t>.</a:t>
            </a:r>
            <a:endParaRPr lang="en-US"/>
          </a:p>
          <a:p>
            <a:r>
              <a:rPr lang="en-US" dirty="0">
                <a:latin typeface="Tele-GroteskFet"/>
              </a:rPr>
              <a:t>- </a:t>
            </a:r>
            <a:r>
              <a:rPr lang="en-US" err="1">
                <a:latin typeface="Tele-GroteskFet"/>
              </a:rPr>
              <a:t>Első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lépésként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API </a:t>
            </a:r>
            <a:r>
              <a:rPr lang="en-US" err="1">
                <a:latin typeface="Tele-GroteskFet"/>
              </a:rPr>
              <a:t>tesztelői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csapat</a:t>
            </a:r>
            <a:r>
              <a:rPr lang="en-US" dirty="0">
                <a:latin typeface="Tele-GroteskFet"/>
              </a:rPr>
              <a:t> a </a:t>
            </a:r>
            <a:r>
              <a:rPr lang="en-US" err="1">
                <a:latin typeface="Tele-GroteskFet"/>
              </a:rPr>
              <a:t>meglévő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technológiai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fejlesztéseikről</a:t>
            </a:r>
            <a:r>
              <a:rPr lang="en-US" dirty="0">
                <a:latin typeface="Tele-GroteskFet"/>
              </a:rPr>
              <a:t>, </a:t>
            </a:r>
            <a:r>
              <a:rPr lang="en-US">
                <a:latin typeface="Tele-GroteskFet"/>
              </a:rPr>
              <a:t>domain </a:t>
            </a:r>
            <a:r>
              <a:rPr lang="en-US" err="1">
                <a:latin typeface="Tele-GroteskFet"/>
              </a:rPr>
              <a:t>szintű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tesztjeikről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tudásátadásokat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tartott</a:t>
            </a:r>
            <a:r>
              <a:rPr lang="en-US" dirty="0">
                <a:latin typeface="Tele-GroteskFet"/>
              </a:rPr>
              <a:t>. </a:t>
            </a:r>
            <a:r>
              <a:rPr lang="en-US" err="1">
                <a:latin typeface="Tele-GroteskFet"/>
              </a:rPr>
              <a:t>Ezek</a:t>
            </a:r>
            <a:r>
              <a:rPr lang="en-US" dirty="0">
                <a:latin typeface="Tele-GroteskFet"/>
              </a:rPr>
              <a:t> a </a:t>
            </a:r>
            <a:r>
              <a:rPr lang="en-US" err="1">
                <a:latin typeface="Tele-GroteskFet"/>
              </a:rPr>
              <a:t>tudásátadások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rendben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lementek</a:t>
            </a:r>
            <a:r>
              <a:rPr lang="en-US" dirty="0">
                <a:latin typeface="Tele-GroteskFet"/>
              </a:rPr>
              <a:t>, </a:t>
            </a:r>
            <a:r>
              <a:rPr lang="en-US" err="1">
                <a:latin typeface="Tele-GroteskFet"/>
              </a:rPr>
              <a:t>amik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egyébként</a:t>
            </a:r>
            <a:r>
              <a:rPr lang="en-US" dirty="0">
                <a:latin typeface="Tele-GroteskFet"/>
              </a:rPr>
              <a:t> </a:t>
            </a:r>
            <a:r>
              <a:rPr lang="en-US" err="1">
                <a:latin typeface="Tele-GroteskFet"/>
              </a:rPr>
              <a:t>visszanézhetők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jelenleg</a:t>
            </a:r>
            <a:r>
              <a:rPr lang="en-US" dirty="0">
                <a:latin typeface="Tele-GroteskFet"/>
              </a:rPr>
              <a:t> is. </a:t>
            </a:r>
            <a:r>
              <a:rPr lang="en-US" err="1">
                <a:latin typeface="Tele-GroteskFet"/>
              </a:rPr>
              <a:t>Ez</a:t>
            </a:r>
            <a:r>
              <a:rPr lang="en-US" dirty="0">
                <a:latin typeface="Tele-GroteskFet"/>
              </a:rPr>
              <a:t> a </a:t>
            </a:r>
            <a:r>
              <a:rPr lang="en-US" err="1">
                <a:latin typeface="Tele-GroteskFet"/>
              </a:rPr>
              <a:t>szakasz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lezárult</a:t>
            </a:r>
            <a:r>
              <a:rPr lang="en-US" dirty="0">
                <a:latin typeface="Tele-GroteskFet"/>
              </a:rPr>
              <a:t>.</a:t>
            </a:r>
          </a:p>
          <a:p>
            <a:r>
              <a:rPr lang="en-US" dirty="0">
                <a:latin typeface="Tele-GroteskFet"/>
              </a:rPr>
              <a:t>- </a:t>
            </a:r>
            <a:r>
              <a:rPr lang="en-US" err="1">
                <a:latin typeface="Tele-GroteskFet"/>
              </a:rPr>
              <a:t>Következő</a:t>
            </a:r>
            <a:r>
              <a:rPr lang="en-US" dirty="0">
                <a:latin typeface="Tele-GroteskFet"/>
              </a:rPr>
              <a:t> </a:t>
            </a:r>
            <a:r>
              <a:rPr lang="en-US" err="1">
                <a:latin typeface="Tele-GroteskFet"/>
              </a:rPr>
              <a:t>lépésként</a:t>
            </a:r>
            <a:r>
              <a:rPr lang="en-US" dirty="0">
                <a:latin typeface="Tele-GroteskFet"/>
              </a:rPr>
              <a:t> a </a:t>
            </a:r>
            <a:r>
              <a:rPr lang="en-US" err="1">
                <a:latin typeface="Tele-GroteskFet"/>
              </a:rPr>
              <a:t>csapatok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feltérképezték</a:t>
            </a:r>
            <a:r>
              <a:rPr lang="en-US" dirty="0">
                <a:latin typeface="Tele-GroteskFet"/>
              </a:rPr>
              <a:t>, </a:t>
            </a:r>
            <a:r>
              <a:rPr lang="en-US" err="1">
                <a:latin typeface="Tele-GroteskFet"/>
              </a:rPr>
              <a:t>feltérképezik</a:t>
            </a:r>
            <a:r>
              <a:rPr lang="en-US" dirty="0">
                <a:latin typeface="Tele-GroteskFet"/>
              </a:rPr>
              <a:t>, </a:t>
            </a:r>
            <a:r>
              <a:rPr lang="en-US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jelenleg</a:t>
            </a:r>
            <a:r>
              <a:rPr lang="en-US" dirty="0">
                <a:latin typeface="Tele-GroteskFet"/>
              </a:rPr>
              <a:t> </a:t>
            </a:r>
            <a:r>
              <a:rPr lang="en-US" err="1">
                <a:latin typeface="Tele-GroteskFet"/>
              </a:rPr>
              <a:t>milyen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tesztekkel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rendelkezünk</a:t>
            </a:r>
            <a:r>
              <a:rPr lang="en-US" dirty="0">
                <a:latin typeface="Tele-GroteskFet"/>
              </a:rPr>
              <a:t>. </a:t>
            </a:r>
            <a:r>
              <a:rPr lang="en-US" err="1">
                <a:latin typeface="Tele-GroteskFet"/>
              </a:rPr>
              <a:t>Ennek</a:t>
            </a:r>
            <a:r>
              <a:rPr lang="en-US" dirty="0">
                <a:latin typeface="Tele-GroteskFet"/>
              </a:rPr>
              <a:t> a </a:t>
            </a:r>
            <a:r>
              <a:rPr lang="en-US" err="1">
                <a:latin typeface="Tele-GroteskFet"/>
              </a:rPr>
              <a:t>feladatnak</a:t>
            </a:r>
            <a:r>
              <a:rPr lang="en-US" dirty="0">
                <a:latin typeface="Tele-GroteskFet"/>
              </a:rPr>
              <a:t> a domain </a:t>
            </a:r>
            <a:r>
              <a:rPr lang="en-US" err="1">
                <a:latin typeface="Tele-GroteskFet"/>
              </a:rPr>
              <a:t>oldali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feltérképezése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még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folyamatban</a:t>
            </a:r>
            <a:r>
              <a:rPr lang="en-US" dirty="0">
                <a:latin typeface="Tele-GroteskFet"/>
              </a:rPr>
              <a:t> van, </a:t>
            </a:r>
            <a:r>
              <a:rPr lang="en-US" err="1">
                <a:latin typeface="Tele-GroteskFet"/>
              </a:rPr>
              <a:t>műszakilag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megvizsgáltuk</a:t>
            </a:r>
            <a:r>
              <a:rPr lang="en-US" dirty="0">
                <a:latin typeface="Tele-GroteskFet"/>
              </a:rPr>
              <a:t> a </a:t>
            </a:r>
            <a:r>
              <a:rPr lang="en-US" err="1">
                <a:latin typeface="Tele-GroteskFet"/>
              </a:rPr>
              <a:t>lehetőségeinket</a:t>
            </a:r>
            <a:r>
              <a:rPr lang="en-US" dirty="0">
                <a:latin typeface="Tele-GroteskFet"/>
              </a:rPr>
              <a:t>.</a:t>
            </a:r>
          </a:p>
          <a:p>
            <a:endParaRPr lang="en-US" dirty="0">
              <a:latin typeface="Tele-GroteskFet"/>
            </a:endParaRPr>
          </a:p>
          <a:p>
            <a:r>
              <a:rPr lang="en-US" err="1">
                <a:latin typeface="Tele-GroteskFet"/>
              </a:rPr>
              <a:t>Ezzel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párhuzamosan</a:t>
            </a:r>
            <a:r>
              <a:rPr lang="en-US" dirty="0">
                <a:latin typeface="Tele-GroteskFet"/>
              </a:rPr>
              <a:t> tribe </a:t>
            </a:r>
            <a:r>
              <a:rPr lang="en-US" err="1">
                <a:latin typeface="Tele-GroteskFet"/>
              </a:rPr>
              <a:t>szinten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definiáltuk</a:t>
            </a:r>
            <a:r>
              <a:rPr lang="en-US" dirty="0">
                <a:latin typeface="Tele-GroteskFet"/>
              </a:rPr>
              <a:t> </a:t>
            </a:r>
            <a:r>
              <a:rPr lang="en-US" err="1">
                <a:latin typeface="Tele-GroteskFet"/>
              </a:rPr>
              <a:t>azokat</a:t>
            </a:r>
            <a:r>
              <a:rPr lang="en-US" dirty="0">
                <a:latin typeface="Tele-GroteskFet"/>
              </a:rPr>
              <a:t> a </a:t>
            </a:r>
            <a:r>
              <a:rPr lang="en-US" err="1">
                <a:latin typeface="Tele-GroteskFet"/>
              </a:rPr>
              <a:t>követelményeket</a:t>
            </a:r>
            <a:r>
              <a:rPr lang="en-US" dirty="0">
                <a:latin typeface="Tele-GroteskFet"/>
              </a:rPr>
              <a:t>, </a:t>
            </a:r>
            <a:r>
              <a:rPr lang="en-US" err="1">
                <a:latin typeface="Tele-GroteskFet"/>
              </a:rPr>
              <a:t>amik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mentén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úgy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látjuk</a:t>
            </a:r>
            <a:r>
              <a:rPr lang="en-US" dirty="0">
                <a:latin typeface="Tele-GroteskFet"/>
              </a:rPr>
              <a:t>, </a:t>
            </a:r>
            <a:r>
              <a:rPr lang="en-US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 a </a:t>
            </a:r>
            <a:r>
              <a:rPr lang="en-US" err="1">
                <a:latin typeface="Tele-GroteskFet"/>
              </a:rPr>
              <a:t>szoftver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minősége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fenn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tartható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marad</a:t>
            </a:r>
            <a:r>
              <a:rPr lang="en-US" dirty="0">
                <a:latin typeface="Tele-GroteskFet"/>
              </a:rPr>
              <a:t>:</a:t>
            </a:r>
          </a:p>
          <a:p>
            <a:r>
              <a:rPr lang="en-US" dirty="0">
                <a:latin typeface="Tele-GroteskFet"/>
              </a:rPr>
              <a:t>- Unit </a:t>
            </a:r>
            <a:r>
              <a:rPr lang="en-US" err="1">
                <a:latin typeface="Tele-GroteskFet"/>
              </a:rPr>
              <a:t>tesztek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ellenőrzésének</a:t>
            </a:r>
            <a:r>
              <a:rPr lang="en-US" dirty="0">
                <a:latin typeface="Tele-GroteskFet"/>
              </a:rPr>
              <a:t> be </a:t>
            </a:r>
            <a:r>
              <a:rPr lang="en-US" err="1">
                <a:latin typeface="Tele-GroteskFet"/>
              </a:rPr>
              <a:t>kell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épülnie</a:t>
            </a:r>
            <a:r>
              <a:rPr lang="en-US" dirty="0">
                <a:latin typeface="Tele-GroteskFet"/>
              </a:rPr>
              <a:t> a CI/CD </a:t>
            </a:r>
            <a:r>
              <a:rPr lang="en-US" err="1">
                <a:latin typeface="Tele-GroteskFet"/>
              </a:rPr>
              <a:t>folyamatba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quality gate-</a:t>
            </a:r>
            <a:r>
              <a:rPr lang="en-US" err="1">
                <a:latin typeface="Tele-GroteskFet"/>
              </a:rPr>
              <a:t>ként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kell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működniük</a:t>
            </a:r>
            <a:r>
              <a:rPr lang="en-US" dirty="0">
                <a:latin typeface="Tele-GroteskFet"/>
              </a:rPr>
              <a:t>.</a:t>
            </a:r>
          </a:p>
          <a:p>
            <a:r>
              <a:rPr lang="en-US" dirty="0">
                <a:latin typeface="Tele-GroteskFet"/>
              </a:rPr>
              <a:t>- 80% </a:t>
            </a:r>
            <a:r>
              <a:rPr lang="en-US" err="1">
                <a:latin typeface="Tele-GroteskFet"/>
              </a:rPr>
              <a:t>lefedettséget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szeretnénk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üzleti</a:t>
            </a:r>
            <a:r>
              <a:rPr lang="en-US" dirty="0">
                <a:latin typeface="Tele-GroteskFet"/>
              </a:rPr>
              <a:t> </a:t>
            </a:r>
            <a:r>
              <a:rPr lang="en-US" err="1">
                <a:latin typeface="Tele-GroteskFet"/>
              </a:rPr>
              <a:t>logikákat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megvalósító</a:t>
            </a:r>
            <a:r>
              <a:rPr lang="en-US" dirty="0">
                <a:latin typeface="Tele-GroteskFet"/>
              </a:rPr>
              <a:t> unit-okra.</a:t>
            </a:r>
          </a:p>
          <a:p>
            <a:endParaRPr lang="en-US" dirty="0">
              <a:latin typeface="Tele-GroteskFet"/>
            </a:endParaRPr>
          </a:p>
          <a:p>
            <a:r>
              <a:rPr lang="en-US" dirty="0">
                <a:latin typeface="Tele-GroteskFet"/>
              </a:rPr>
              <a:t>- </a:t>
            </a:r>
            <a:r>
              <a:rPr lang="en-US" err="1">
                <a:latin typeface="Tele-GroteskFet"/>
              </a:rPr>
              <a:t>Componens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teszteknek</a:t>
            </a:r>
            <a:r>
              <a:rPr lang="en-US" dirty="0">
                <a:latin typeface="Tele-GroteskFet"/>
              </a:rPr>
              <a:t> </a:t>
            </a:r>
            <a:r>
              <a:rPr lang="en-US" err="1">
                <a:latin typeface="Tele-GroteskFet"/>
              </a:rPr>
              <a:t>hasonlóan</a:t>
            </a:r>
            <a:r>
              <a:rPr lang="en-US" dirty="0">
                <a:latin typeface="Tele-GroteskFet"/>
              </a:rPr>
              <a:t> a Unit </a:t>
            </a:r>
            <a:r>
              <a:rPr lang="en-US" err="1">
                <a:latin typeface="Tele-GroteskFet"/>
              </a:rPr>
              <a:t>tesztekhez</a:t>
            </a:r>
            <a:r>
              <a:rPr lang="en-US" dirty="0">
                <a:latin typeface="Tele-GroteskFet"/>
              </a:rPr>
              <a:t> be </a:t>
            </a:r>
            <a:r>
              <a:rPr lang="en-US" err="1">
                <a:latin typeface="Tele-GroteskFet"/>
              </a:rPr>
              <a:t>kell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épülnie</a:t>
            </a:r>
            <a:r>
              <a:rPr lang="en-US" dirty="0">
                <a:latin typeface="Tele-GroteskFet"/>
              </a:rPr>
              <a:t> a CI/CD </a:t>
            </a:r>
            <a:r>
              <a:rPr lang="en-US" err="1">
                <a:latin typeface="Tele-GroteskFet"/>
              </a:rPr>
              <a:t>folyamatba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quality gate-</a:t>
            </a:r>
            <a:r>
              <a:rPr lang="en-US" err="1">
                <a:latin typeface="Tele-GroteskFet"/>
              </a:rPr>
              <a:t>ként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kell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működniük</a:t>
            </a:r>
            <a:r>
              <a:rPr lang="en-US" dirty="0">
                <a:latin typeface="Tele-GroteskFet"/>
              </a:rPr>
              <a:t>.</a:t>
            </a:r>
          </a:p>
          <a:p>
            <a:r>
              <a:rPr lang="en-US" dirty="0">
                <a:latin typeface="Tele-GroteskFet"/>
              </a:rPr>
              <a:t>- </a:t>
            </a:r>
            <a:r>
              <a:rPr lang="en-US" err="1">
                <a:latin typeface="Tele-GroteskFet"/>
              </a:rPr>
              <a:t>Definiálás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alatt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lévő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lefedettséget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kell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biztosítani</a:t>
            </a:r>
            <a:r>
              <a:rPr lang="en-US" dirty="0">
                <a:latin typeface="Tele-GroteskFet"/>
              </a:rPr>
              <a:t> a </a:t>
            </a:r>
            <a:r>
              <a:rPr lang="en-US" err="1">
                <a:latin typeface="Tele-GroteskFet"/>
              </a:rPr>
              <a:t>fejlesztett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componens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teszteknek</a:t>
            </a:r>
            <a:r>
              <a:rPr lang="en-US" dirty="0">
                <a:latin typeface="Tele-GroteskFet"/>
              </a:rPr>
              <a:t>.</a:t>
            </a:r>
          </a:p>
          <a:p>
            <a:endParaRPr lang="en-US" dirty="0">
              <a:latin typeface="Tele-GroteskFet"/>
            </a:endParaRPr>
          </a:p>
          <a:p>
            <a:r>
              <a:rPr lang="en-US" dirty="0">
                <a:latin typeface="Tele-GroteskFet"/>
              </a:rPr>
              <a:t>2021-ben </a:t>
            </a:r>
            <a:r>
              <a:rPr lang="en-US" err="1">
                <a:latin typeface="Tele-GroteskFet"/>
              </a:rPr>
              <a:t>tervezetten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nem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fogunk</a:t>
            </a:r>
            <a:r>
              <a:rPr lang="en-US" dirty="0">
                <a:latin typeface="Tele-GroteskFet"/>
              </a:rPr>
              <a:t> </a:t>
            </a:r>
            <a:r>
              <a:rPr lang="en-US" err="1">
                <a:latin typeface="Tele-GroteskFet"/>
              </a:rPr>
              <a:t>dolgozni</a:t>
            </a:r>
            <a:r>
              <a:rPr lang="en-US" dirty="0">
                <a:latin typeface="Tele-GroteskFet"/>
              </a:rPr>
              <a:t>:</a:t>
            </a:r>
          </a:p>
          <a:p>
            <a:r>
              <a:rPr lang="en-US" dirty="0">
                <a:latin typeface="Tele-GroteskFet"/>
              </a:rPr>
              <a:t>- Automat smoke </a:t>
            </a:r>
            <a:r>
              <a:rPr lang="en-US" err="1">
                <a:latin typeface="Tele-GroteskFet"/>
              </a:rPr>
              <a:t>tesztelési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eljárásokon</a:t>
            </a:r>
            <a:r>
              <a:rPr lang="en-US" dirty="0">
                <a:latin typeface="Tele-GroteskFet"/>
              </a:rPr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E97663-D53D-4421-A2F3-0C076A052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89163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7838" y="371475"/>
            <a:ext cx="5902325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Tele-GroteskFet"/>
              </a:rPr>
              <a:t>Balázs</a:t>
            </a:r>
          </a:p>
          <a:p>
            <a:endParaRPr lang="en-US" dirty="0">
              <a:latin typeface="Tele-GroteskFet"/>
            </a:endParaRPr>
          </a:p>
          <a:p>
            <a:r>
              <a:rPr lang="en-US" dirty="0">
                <a:latin typeface="Tele-GroteskFet"/>
              </a:rPr>
              <a:t>A </a:t>
            </a:r>
            <a:r>
              <a:rPr lang="en-US" dirty="0" err="1">
                <a:latin typeface="Tele-GroteskFet"/>
              </a:rPr>
              <a:t>definiál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övetelménye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ükrébe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észítettünk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egy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felmérést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csapato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ejlesztése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hogya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állnak</a:t>
            </a:r>
            <a:r>
              <a:rPr lang="en-US" dirty="0">
                <a:latin typeface="Tele-GroteskFet"/>
              </a:rPr>
              <a:t>. </a:t>
            </a:r>
          </a:p>
          <a:p>
            <a:r>
              <a:rPr lang="en-US" dirty="0">
                <a:latin typeface="Tele-GroteskFet"/>
              </a:rPr>
              <a:t>Bal </a:t>
            </a:r>
            <a:r>
              <a:rPr lang="en-US" dirty="0" err="1">
                <a:latin typeface="Tele-GroteskFet"/>
              </a:rPr>
              <a:t>oldalon</a:t>
            </a:r>
            <a:r>
              <a:rPr lang="en-US" dirty="0">
                <a:latin typeface="Tele-GroteskFet"/>
              </a:rPr>
              <a:t> a </a:t>
            </a:r>
            <a:r>
              <a:rPr lang="en-US" dirty="0" err="1">
                <a:latin typeface="Tele-GroteskFet"/>
              </a:rPr>
              <a:t>követményeke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áthatjáto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orrendben</a:t>
            </a:r>
            <a:r>
              <a:rPr lang="en-US" dirty="0">
                <a:latin typeface="Tele-GroteskFet"/>
              </a:rPr>
              <a:t>:</a:t>
            </a:r>
          </a:p>
          <a:p>
            <a:r>
              <a:rPr lang="en-US" dirty="0">
                <a:latin typeface="Tele-GroteskFet"/>
              </a:rPr>
              <a:t>- Automata Unit </a:t>
            </a:r>
            <a:r>
              <a:rPr lang="en-US" dirty="0" err="1">
                <a:latin typeface="Tele-GroteskFet"/>
              </a:rPr>
              <a:t>tesztelés</a:t>
            </a:r>
            <a:r>
              <a:rPr lang="en-US" dirty="0">
                <a:latin typeface="Tele-GroteskFet"/>
              </a:rPr>
              <a:t> mint Quality Gate</a:t>
            </a:r>
          </a:p>
          <a:p>
            <a:r>
              <a:rPr lang="en-US" dirty="0">
                <a:latin typeface="Tele-GroteskFet"/>
              </a:rPr>
              <a:t>- 80%-</a:t>
            </a:r>
            <a:r>
              <a:rPr lang="en-US" dirty="0" err="1">
                <a:latin typeface="Tele-GroteskFet"/>
              </a:rPr>
              <a:t>os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tesz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efedettség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érése</a:t>
            </a:r>
            <a:endParaRPr lang="en-US" dirty="0">
              <a:latin typeface="Tele-GroteskFet"/>
            </a:endParaRPr>
          </a:p>
          <a:p>
            <a:r>
              <a:rPr lang="en-US" dirty="0">
                <a:latin typeface="Tele-GroteskFet"/>
              </a:rPr>
              <a:t>- </a:t>
            </a: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itt</a:t>
            </a:r>
            <a:r>
              <a:rPr lang="en-US" dirty="0">
                <a:latin typeface="Tele-GroteskFet"/>
              </a:rPr>
              <a:t> van </a:t>
            </a:r>
            <a:r>
              <a:rPr lang="en-US" dirty="0" err="1">
                <a:latin typeface="Tele-GroteskFet"/>
              </a:rPr>
              <a:t>e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új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övetelmény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aminek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ponto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definiálása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inden</a:t>
            </a:r>
            <a:r>
              <a:rPr lang="en-US" dirty="0">
                <a:latin typeface="Tele-GroteskFet"/>
              </a:rPr>
              <a:t> squad </a:t>
            </a:r>
            <a:r>
              <a:rPr lang="en-US" dirty="0" err="1">
                <a:latin typeface="Tele-GroteskFet"/>
              </a:rPr>
              <a:t>feladata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 a DoD </a:t>
            </a:r>
            <a:r>
              <a:rPr lang="en-US" dirty="0" err="1">
                <a:latin typeface="Tele-GroteskFet"/>
              </a:rPr>
              <a:t>része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egyen</a:t>
            </a:r>
            <a:r>
              <a:rPr lang="en-US" dirty="0">
                <a:latin typeface="Tele-GroteskFet"/>
              </a:rPr>
              <a:t> a Unit </a:t>
            </a:r>
            <a:r>
              <a:rPr lang="en-US" dirty="0" err="1">
                <a:latin typeface="Tele-GroteskFet"/>
              </a:rPr>
              <a:t>tesztelés</a:t>
            </a:r>
            <a:r>
              <a:rPr lang="en-US" dirty="0">
                <a:latin typeface="Tele-GroteskFet"/>
              </a:rPr>
              <a:t>.</a:t>
            </a:r>
          </a:p>
          <a:p>
            <a:endParaRPr lang="en-US" dirty="0">
              <a:latin typeface="Tele-GroteskFet"/>
            </a:endParaRPr>
          </a:p>
          <a:p>
            <a:r>
              <a:rPr lang="en-US" dirty="0">
                <a:latin typeface="Tele-GroteskFet"/>
              </a:rPr>
              <a:t>- Automata </a:t>
            </a:r>
            <a:r>
              <a:rPr lang="en-US" dirty="0" err="1">
                <a:latin typeface="Tele-GroteskFet"/>
              </a:rPr>
              <a:t>Componen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esztelés</a:t>
            </a:r>
            <a:r>
              <a:rPr lang="en-US" dirty="0">
                <a:latin typeface="Tele-GroteskFet"/>
              </a:rPr>
              <a:t> mint Quality Gate</a:t>
            </a:r>
          </a:p>
          <a:p>
            <a:r>
              <a:rPr lang="en-US" dirty="0">
                <a:latin typeface="Tele-GroteskFet"/>
              </a:rPr>
              <a:t>- 90%-</a:t>
            </a:r>
            <a:r>
              <a:rPr lang="en-US" dirty="0" err="1">
                <a:latin typeface="Tele-GroteskFet"/>
              </a:rPr>
              <a:t>o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efedettség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kritiku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setekre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80%-</a:t>
            </a:r>
            <a:r>
              <a:rPr lang="en-US" dirty="0" err="1">
                <a:latin typeface="Tele-GroteskFet"/>
              </a:rPr>
              <a:t>os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többire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efedettség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érése</a:t>
            </a:r>
            <a:r>
              <a:rPr lang="en-US" dirty="0">
                <a:latin typeface="Tele-GroteskFet"/>
              </a:rPr>
              <a:t>.</a:t>
            </a:r>
          </a:p>
          <a:p>
            <a:r>
              <a:rPr lang="en-US" dirty="0">
                <a:latin typeface="Tele-GroteskFet"/>
              </a:rPr>
              <a:t>- DoD </a:t>
            </a:r>
            <a:r>
              <a:rPr lang="en-US" dirty="0" err="1">
                <a:latin typeface="Tele-GroteskFet"/>
              </a:rPr>
              <a:t>része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egyen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komponen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esztelés</a:t>
            </a:r>
            <a:r>
              <a:rPr lang="en-US" dirty="0">
                <a:latin typeface="Tele-GroteskFet"/>
              </a:rPr>
              <a:t>.</a:t>
            </a:r>
          </a:p>
          <a:p>
            <a:endParaRPr lang="en-US" dirty="0">
              <a:latin typeface="Tele-GroteskFet"/>
            </a:endParaRPr>
          </a:p>
          <a:p>
            <a:r>
              <a:rPr lang="en-US" dirty="0" err="1">
                <a:latin typeface="Tele-GroteskFet"/>
              </a:rPr>
              <a:t>Opcionáli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ételkén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udjuk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 a </a:t>
            </a:r>
            <a:r>
              <a:rPr lang="en-US" dirty="0" err="1">
                <a:latin typeface="Tele-GroteskFet"/>
              </a:rPr>
              <a:t>klassziku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integráció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eszte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jele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vannak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fejlesztésekben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ezér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t</a:t>
            </a:r>
            <a:r>
              <a:rPr lang="en-US" dirty="0">
                <a:latin typeface="Tele-GroteskFet"/>
              </a:rPr>
              <a:t> is </a:t>
            </a:r>
            <a:r>
              <a:rPr lang="en-US" dirty="0" err="1">
                <a:latin typeface="Tele-GroteskFet"/>
              </a:rPr>
              <a:t>it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eltüntettük</a:t>
            </a:r>
            <a:r>
              <a:rPr lang="en-US" dirty="0">
                <a:latin typeface="Tele-GroteskFet"/>
              </a:rPr>
              <a:t>.</a:t>
            </a:r>
          </a:p>
          <a:p>
            <a:endParaRPr lang="en-US" dirty="0">
              <a:latin typeface="Tele-GroteskFet"/>
            </a:endParaRPr>
          </a:p>
          <a:p>
            <a:r>
              <a:rPr lang="en-US" dirty="0">
                <a:latin typeface="Tele-GroteskFet"/>
              </a:rPr>
              <a:t>A </a:t>
            </a:r>
            <a:r>
              <a:rPr lang="en-US" dirty="0" err="1">
                <a:latin typeface="Tele-GroteskFet"/>
              </a:rPr>
              <a:t>szinek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következőke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reprezentálják</a:t>
            </a:r>
            <a:r>
              <a:rPr lang="en-US" dirty="0">
                <a:latin typeface="Tele-GroteskFet"/>
              </a:rPr>
              <a:t>:</a:t>
            </a:r>
          </a:p>
          <a:p>
            <a:r>
              <a:rPr lang="en-US" dirty="0">
                <a:latin typeface="Tele-GroteskFet"/>
              </a:rPr>
              <a:t>- Zöld a </a:t>
            </a:r>
            <a:r>
              <a:rPr lang="en-US" dirty="0" err="1">
                <a:latin typeface="Tele-GroteskFet"/>
              </a:rPr>
              <a:t>cé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ár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érve</a:t>
            </a:r>
            <a:r>
              <a:rPr lang="en-US" dirty="0">
                <a:latin typeface="Tele-GroteskFet"/>
              </a:rPr>
              <a:t>.</a:t>
            </a:r>
          </a:p>
          <a:p>
            <a:r>
              <a:rPr lang="en-US" dirty="0">
                <a:latin typeface="Tele-GroteskFet"/>
              </a:rPr>
              <a:t>- Sárga </a:t>
            </a:r>
            <a:r>
              <a:rPr lang="en-US" dirty="0" err="1">
                <a:latin typeface="Tele-GroteskFet"/>
              </a:rPr>
              <a:t>részlegese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érve</a:t>
            </a:r>
            <a:r>
              <a:rPr lang="en-US" dirty="0">
                <a:latin typeface="Tele-GroteskFet"/>
              </a:rPr>
              <a:t>.</a:t>
            </a:r>
          </a:p>
          <a:p>
            <a:r>
              <a:rPr lang="en-US" dirty="0">
                <a:latin typeface="Tele-GroteskFet"/>
              </a:rPr>
              <a:t>- Piros </a:t>
            </a:r>
            <a:r>
              <a:rPr lang="en-US" dirty="0" err="1">
                <a:latin typeface="Tele-GroteskFet"/>
              </a:rPr>
              <a:t>ninc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jele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lkalmazásokban</a:t>
            </a:r>
            <a:r>
              <a:rPr lang="en-US" dirty="0">
                <a:latin typeface="Tele-GroteskFet"/>
              </a:rPr>
              <a:t>.</a:t>
            </a:r>
          </a:p>
          <a:p>
            <a:endParaRPr lang="en-US" dirty="0">
              <a:latin typeface="Tele-GroteskFet"/>
            </a:endParaRPr>
          </a:p>
          <a:p>
            <a:r>
              <a:rPr lang="en-US" dirty="0">
                <a:latin typeface="Tele-GroteskFet"/>
              </a:rPr>
              <a:t>Tribe </a:t>
            </a:r>
            <a:r>
              <a:rPr lang="en-US" dirty="0" err="1">
                <a:latin typeface="Tele-GroteskFet"/>
              </a:rPr>
              <a:t>szintű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célunk</a:t>
            </a:r>
            <a:r>
              <a:rPr lang="en-US" dirty="0">
                <a:latin typeface="Tele-GroteskFet"/>
              </a:rPr>
              <a:t>, </a:t>
            </a:r>
            <a:r>
              <a:rPr lang="en-US" dirty="0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ez</a:t>
            </a:r>
            <a:r>
              <a:rPr lang="en-US" dirty="0">
                <a:latin typeface="Tele-GroteskFet"/>
              </a:rPr>
              <a:t> a </a:t>
            </a:r>
            <a:r>
              <a:rPr lang="en-US" dirty="0" err="1">
                <a:latin typeface="Tele-GroteskFet"/>
              </a:rPr>
              <a:t>felmérés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minél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zöldebb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legyen</a:t>
            </a:r>
            <a:r>
              <a:rPr lang="en-US" dirty="0">
                <a:latin typeface="Tele-GroteskFet"/>
              </a:rPr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E97663-D53D-4421-A2F3-0C076A052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33028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7838" y="371475"/>
            <a:ext cx="5902325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Tele-GroteskFet"/>
              </a:rPr>
              <a:t>Norbi</a:t>
            </a:r>
          </a:p>
          <a:p>
            <a:endParaRPr lang="en-US" dirty="0"/>
          </a:p>
          <a:p>
            <a:r>
              <a:rPr lang="en-US" dirty="0">
                <a:latin typeface="Tele-GroteskFet"/>
              </a:rPr>
              <a:t>Amit </a:t>
            </a:r>
            <a:r>
              <a:rPr lang="en-US" dirty="0" err="1">
                <a:latin typeface="Tele-GroteskFet"/>
              </a:rPr>
              <a:t>még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onto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egemlíten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múl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egyedévből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rengeteg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gyüttműködés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ezdeményeztün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ás</a:t>
            </a:r>
            <a:r>
              <a:rPr lang="en-US" dirty="0">
                <a:latin typeface="Tele-GroteskFet"/>
              </a:rPr>
              <a:t> Tribe-</a:t>
            </a:r>
            <a:r>
              <a:rPr lang="en-US" dirty="0" err="1">
                <a:latin typeface="Tele-GroteskFet"/>
              </a:rPr>
              <a:t>okkal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quadokkal</a:t>
            </a:r>
            <a:r>
              <a:rPr lang="en-US" dirty="0">
                <a:latin typeface="Tele-GroteskFet"/>
              </a:rPr>
              <a:t>:</a:t>
            </a:r>
            <a:endParaRPr lang="en-US" dirty="0"/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Rendszerese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artun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gyeztetéseket</a:t>
            </a:r>
            <a:r>
              <a:rPr lang="en-US" dirty="0">
                <a:latin typeface="Tele-GroteskFet"/>
              </a:rPr>
              <a:t> a DDT (Delivery and Development Tooling) </a:t>
            </a:r>
            <a:r>
              <a:rPr lang="en-US" dirty="0" err="1">
                <a:latin typeface="Tele-GroteskFet"/>
              </a:rPr>
              <a:t>csapattal</a:t>
            </a:r>
            <a:r>
              <a:rPr lang="en-US" dirty="0">
                <a:latin typeface="Tele-GroteskFet"/>
              </a:rPr>
              <a:t> </a:t>
            </a:r>
          </a:p>
          <a:p>
            <a:pPr lvl="3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Tartottun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oda-vissza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udásátadásokat</a:t>
            </a:r>
          </a:p>
          <a:p>
            <a:pPr lvl="3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Együttese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dolgozunk</a:t>
            </a:r>
            <a:r>
              <a:rPr lang="en-US" dirty="0">
                <a:latin typeface="Tele-GroteskFet"/>
              </a:rPr>
              <a:t> a SonarQube </a:t>
            </a:r>
            <a:r>
              <a:rPr lang="en-US" dirty="0" err="1">
                <a:latin typeface="Tele-GroteskFet"/>
              </a:rPr>
              <a:t>bevezetésén</a:t>
            </a:r>
            <a:r>
              <a:rPr lang="en-US" dirty="0">
                <a:latin typeface="Tele-GroteskFet"/>
              </a:rPr>
              <a:t> - </a:t>
            </a:r>
            <a:r>
              <a:rPr lang="en-US" dirty="0" err="1">
                <a:latin typeface="Tele-GroteskFet"/>
              </a:rPr>
              <a:t>e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ár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gyébkén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belátható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ávolságba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erült</a:t>
            </a:r>
          </a:p>
          <a:p>
            <a:pPr lvl="3">
              <a:buFont typeface="Arial" pitchFamily="2" charset="2"/>
              <a:buChar char="•"/>
            </a:pPr>
            <a:r>
              <a:rPr lang="en-US" dirty="0">
                <a:latin typeface="Tele-GroteskFet"/>
              </a:rPr>
              <a:t>LWBI </a:t>
            </a:r>
            <a:r>
              <a:rPr lang="en-US" dirty="0" err="1">
                <a:latin typeface="Tele-GroteskFet"/>
              </a:rPr>
              <a:t>kompatibilis</a:t>
            </a:r>
            <a:r>
              <a:rPr lang="en-US" dirty="0">
                <a:latin typeface="Tele-GroteskFet"/>
              </a:rPr>
              <a:t> Kafka </a:t>
            </a:r>
            <a:r>
              <a:rPr lang="en-US" dirty="0" err="1">
                <a:latin typeface="Tele-GroteskFet"/>
              </a:rPr>
              <a:t>mockolás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egoldás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ejlesztünk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komponen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esztelése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egtámogatásához</a:t>
            </a:r>
            <a:endParaRPr lang="en-US" dirty="0">
              <a:latin typeface="Tele-GroteskFet"/>
            </a:endParaRPr>
          </a:p>
          <a:p>
            <a:pPr lvl="3">
              <a:buFont typeface="Arial" pitchFamily="2" charset="2"/>
              <a:buChar char="•"/>
            </a:pPr>
            <a:endParaRPr lang="en-US" dirty="0">
              <a:latin typeface="Tele-GroteskFet"/>
            </a:endParaRPr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Támogatjuk</a:t>
            </a:r>
            <a:r>
              <a:rPr lang="en-US" dirty="0">
                <a:latin typeface="Tele-GroteskFet"/>
              </a:rPr>
              <a:t> a Lead </a:t>
            </a:r>
            <a:r>
              <a:rPr lang="en-US" dirty="0" err="1">
                <a:latin typeface="Tele-GroteskFet"/>
              </a:rPr>
              <a:t>Mgmt</a:t>
            </a:r>
            <a:r>
              <a:rPr lang="en-US" dirty="0">
                <a:latin typeface="Tele-GroteskFet"/>
              </a:rPr>
              <a:t> DPS </a:t>
            </a:r>
            <a:r>
              <a:rPr lang="en-US" dirty="0" err="1">
                <a:latin typeface="Tele-GroteskFet"/>
              </a:rPr>
              <a:t>fejlesztő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gárdáját</a:t>
            </a:r>
            <a:endParaRPr lang="en-US" dirty="0">
              <a:latin typeface="Tele-GroteskFet"/>
            </a:endParaRPr>
          </a:p>
          <a:p>
            <a:pPr lvl="3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Tudásátadásoka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artottun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ekik</a:t>
            </a:r>
          </a:p>
          <a:p>
            <a:pPr lvl="3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Segítettünk</a:t>
            </a:r>
            <a:r>
              <a:rPr lang="en-US" dirty="0">
                <a:latin typeface="Tele-GroteskFet"/>
              </a:rPr>
              <a:t> a DPS </a:t>
            </a:r>
            <a:r>
              <a:rPr lang="en-US" dirty="0" err="1">
                <a:latin typeface="Tele-GroteskFet"/>
              </a:rPr>
              <a:t>fejlesztéséne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kezdésében</a:t>
            </a:r>
            <a:r>
              <a:rPr lang="en-US" dirty="0">
                <a:latin typeface="Tele-GroteskFet"/>
              </a:rPr>
              <a:t> is</a:t>
            </a:r>
          </a:p>
          <a:p>
            <a:pPr lvl="3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jelenleg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yomo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övetjük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ho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artanak</a:t>
            </a:r>
          </a:p>
          <a:p>
            <a:pPr lvl="3">
              <a:buFont typeface="Arial" pitchFamily="2" charset="2"/>
              <a:buChar char="•"/>
            </a:pPr>
            <a:endParaRPr lang="en-US" dirty="0">
              <a:latin typeface="Tele-GroteskFet"/>
            </a:endParaRPr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Dolgoztunk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Sopianae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csapattal</a:t>
            </a:r>
            <a:endParaRPr lang="en-US" dirty="0">
              <a:latin typeface="Tele-GroteskFet"/>
            </a:endParaRPr>
          </a:p>
          <a:p>
            <a:pPr lvl="3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Enne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redménye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et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ső</a:t>
            </a:r>
            <a:r>
              <a:rPr lang="en-US" dirty="0">
                <a:latin typeface="Tele-GroteskFet"/>
              </a:rPr>
              <a:t> DPS, </a:t>
            </a:r>
            <a:r>
              <a:rPr lang="en-US" dirty="0" err="1">
                <a:latin typeface="Tele-GroteskFet"/>
              </a:rPr>
              <a:t>ami</a:t>
            </a:r>
            <a:r>
              <a:rPr lang="en-US" dirty="0">
                <a:latin typeface="Tele-GroteskFet"/>
              </a:rPr>
              <a:t> a mi </a:t>
            </a:r>
            <a:r>
              <a:rPr lang="en-US" dirty="0" err="1">
                <a:latin typeface="Tele-GroteskFet"/>
              </a:rPr>
              <a:t>segítségünkke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et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eszállítva</a:t>
            </a:r>
            <a:endParaRPr lang="en-US" dirty="0">
              <a:latin typeface="Tele-GroteskFet"/>
            </a:endParaRPr>
          </a:p>
          <a:p>
            <a:pPr lvl="3">
              <a:buFont typeface="Arial" pitchFamily="2" charset="2"/>
              <a:buChar char="•"/>
            </a:pPr>
            <a:endParaRPr lang="en-US" dirty="0">
              <a:latin typeface="Tele-GroteskFet"/>
            </a:endParaRPr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özösen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törekedtün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egoldás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alálni</a:t>
            </a:r>
            <a:r>
              <a:rPr lang="en-US" dirty="0">
                <a:latin typeface="Tele-GroteskFet"/>
              </a:rPr>
              <a:t> a </a:t>
            </a:r>
            <a:r>
              <a:rPr lang="hu-HU" dirty="0" err="1"/>
              <a:t>Special</a:t>
            </a:r>
            <a:r>
              <a:rPr lang="hu-HU" dirty="0"/>
              <a:t> </a:t>
            </a:r>
            <a:r>
              <a:rPr lang="hu-HU" dirty="0" err="1"/>
              <a:t>Services</a:t>
            </a:r>
            <a:r>
              <a:rPr lang="hu-HU" dirty="0"/>
              <a:t> </a:t>
            </a:r>
            <a:r>
              <a:rPr lang="hu-HU" dirty="0" err="1"/>
              <a:t>DevOps</a:t>
            </a:r>
            <a:r>
              <a:rPr lang="hu-HU" dirty="0"/>
              <a:t> Teammel egy komolyabb, </a:t>
            </a:r>
            <a:r>
              <a:rPr lang="hu-HU" dirty="0" err="1"/>
              <a:t>CutOver</a:t>
            </a:r>
            <a:r>
              <a:rPr lang="hu-HU" dirty="0"/>
              <a:t> után fellépő problémára</a:t>
            </a:r>
          </a:p>
          <a:p>
            <a:pPr marL="171450" indent="-171450">
              <a:buFont typeface="Arial" pitchFamily="2" charset="2"/>
              <a:buChar char="•"/>
            </a:pPr>
            <a:endParaRPr lang="hu-HU" dirty="0">
              <a:latin typeface="Tele-GroteskFet"/>
            </a:endParaRPr>
          </a:p>
          <a:p>
            <a:endParaRPr lang="hu-HU" dirty="0">
              <a:latin typeface="Tele-GroteskFe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E97663-D53D-4421-A2F3-0C076A052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95487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7838" y="371475"/>
            <a:ext cx="5902325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>
                <a:latin typeface="Tele-GroteskFet"/>
              </a:rPr>
              <a:t>Norbi</a:t>
            </a:r>
            <a:endParaRPr lang="en-US" dirty="0"/>
          </a:p>
          <a:p>
            <a:endParaRPr lang="en-US" dirty="0"/>
          </a:p>
          <a:p>
            <a:r>
              <a:rPr lang="en-US" dirty="0">
                <a:latin typeface="Tele-GroteskFet"/>
              </a:rPr>
              <a:t>Mint </a:t>
            </a:r>
            <a:r>
              <a:rPr lang="en-US" dirty="0" err="1">
                <a:latin typeface="Tele-GroteskFet"/>
              </a:rPr>
              <a:t>korábba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mlítettem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elkezdtün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dolgozni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standardizál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oggoláson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gy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réteges</a:t>
            </a:r>
            <a:r>
              <a:rPr lang="en-US" dirty="0">
                <a:latin typeface="Tele-GroteskFet"/>
              </a:rPr>
              <a:t> common logging library </a:t>
            </a:r>
            <a:r>
              <a:rPr lang="en-US" dirty="0" err="1">
                <a:latin typeface="Tele-GroteskFet"/>
              </a:rPr>
              <a:t>implementálásán</a:t>
            </a:r>
            <a:r>
              <a:rPr lang="en-US" dirty="0">
                <a:latin typeface="Tele-GroteskFet"/>
              </a:rPr>
              <a:t>.</a:t>
            </a:r>
          </a:p>
          <a:p>
            <a:endParaRPr lang="en-US" dirty="0"/>
          </a:p>
          <a:p>
            <a:r>
              <a:rPr lang="en-US" dirty="0" err="1">
                <a:latin typeface="Tele-GroteskFet"/>
              </a:rPr>
              <a:t>Enne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gyi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iváltó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oka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volt, </a:t>
            </a:r>
            <a:r>
              <a:rPr lang="en-US" dirty="0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volta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bizonyo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üzemeltetés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problémá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ddig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használ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egoldásainkkal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éha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ehézkessé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tette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hibakereséseket</a:t>
            </a:r>
            <a:r>
              <a:rPr lang="en-US" dirty="0">
                <a:latin typeface="Tele-GroteskFet"/>
              </a:rPr>
              <a:t>.</a:t>
            </a:r>
            <a:endParaRPr lang="en-US" dirty="0"/>
          </a:p>
          <a:p>
            <a:endParaRPr lang="en-US" dirty="0"/>
          </a:p>
          <a:p>
            <a:r>
              <a:rPr lang="en-US" dirty="0">
                <a:latin typeface="Tele-GroteskFet"/>
              </a:rPr>
              <a:t>0. </a:t>
            </a:r>
            <a:r>
              <a:rPr lang="en-US" dirty="0" err="1">
                <a:latin typeface="Tele-GroteskFet"/>
              </a:rPr>
              <a:t>lépéskén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elvettük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kapcsolatot</a:t>
            </a:r>
            <a:r>
              <a:rPr lang="en-US" dirty="0">
                <a:latin typeface="Tele-GroteskFet"/>
              </a:rPr>
              <a:t> a Cloud Engineering </a:t>
            </a:r>
            <a:r>
              <a:rPr lang="en-US" dirty="0" err="1">
                <a:latin typeface="Tele-GroteskFet"/>
              </a:rPr>
              <a:t>csapattal</a:t>
            </a:r>
            <a:r>
              <a:rPr lang="en-US" dirty="0">
                <a:latin typeface="Tele-GroteskFet"/>
              </a:rPr>
              <a:t>,</a:t>
            </a:r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Begyűjtöttü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információka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kezdtü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inyomozni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legfontosabb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problémáka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ELK-</a:t>
            </a:r>
            <a:r>
              <a:rPr lang="en-US" dirty="0" err="1">
                <a:latin typeface="Tele-GroteskFet"/>
              </a:rPr>
              <a:t>val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kapcsolatosan</a:t>
            </a:r>
            <a:endParaRPr lang="en-US" dirty="0" err="1"/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Elhárítottu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őke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őször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lkalmazá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oldalon</a:t>
            </a:r>
            <a:r>
              <a:rPr lang="en-US" dirty="0">
                <a:latin typeface="Tele-GroteskFet"/>
              </a:rPr>
              <a:t> a CET-</a:t>
            </a:r>
            <a:r>
              <a:rPr lang="en-US" dirty="0" err="1">
                <a:latin typeface="Tele-GroteskFet"/>
              </a:rPr>
              <a:t>né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a CPC-</a:t>
            </a:r>
            <a:r>
              <a:rPr lang="en-US" dirty="0" err="1">
                <a:latin typeface="Tele-GroteskFet"/>
              </a:rPr>
              <a:t>nél</a:t>
            </a:r>
            <a:endParaRPr lang="en-US" dirty="0" err="1"/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Kaptun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néhán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pozitív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visszajelzést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megoldá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ikerességéről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minte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egerősítésképpen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ho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jó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irány</a:t>
            </a:r>
            <a:endParaRPr lang="en-US" dirty="0" err="1"/>
          </a:p>
          <a:p>
            <a:pPr marL="171450" indent="-171450">
              <a:buFont typeface="Arial" pitchFamily="2" charset="2"/>
              <a:buChar char="•"/>
            </a:pPr>
            <a:r>
              <a:rPr lang="en-US" dirty="0">
                <a:latin typeface="Tele-GroteskFet"/>
              </a:rPr>
              <a:t>A Platform </a:t>
            </a:r>
            <a:r>
              <a:rPr lang="en-US" dirty="0" err="1">
                <a:latin typeface="Tele-GroteskFet"/>
              </a:rPr>
              <a:t>csapa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égedett</a:t>
            </a:r>
            <a:r>
              <a:rPr lang="en-US" dirty="0">
                <a:latin typeface="Tele-GroteskFet"/>
              </a:rPr>
              <a:t> volt a </a:t>
            </a:r>
            <a:r>
              <a:rPr lang="en-US" dirty="0" err="1">
                <a:latin typeface="Tele-GroteskFet"/>
              </a:rPr>
              <a:t>megoldással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kezdhettün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velü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agasabb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zintű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gyüttműködésrő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beszélni</a:t>
            </a:r>
            <a:endParaRPr lang="en-US" dirty="0" err="1"/>
          </a:p>
          <a:p>
            <a:endParaRPr lang="en-US" dirty="0"/>
          </a:p>
          <a:p>
            <a:pPr>
              <a:buFont typeface="Arial" pitchFamily="2" charset="2"/>
            </a:pPr>
            <a:r>
              <a:rPr lang="en-US" dirty="0" err="1">
                <a:latin typeface="Tele-GroteskFet"/>
              </a:rPr>
              <a:t>Ezeke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redményeke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felhasználva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lapítottun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gy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WorkGroupot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azzal</a:t>
            </a:r>
            <a:r>
              <a:rPr lang="en-US" dirty="0">
                <a:latin typeface="Tele-GroteskFet"/>
              </a:rPr>
              <a:t> a </a:t>
            </a:r>
            <a:r>
              <a:rPr lang="en-US" dirty="0" err="1">
                <a:latin typeface="Tele-GroteskFet"/>
              </a:rPr>
              <a:t>céllal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hogy</a:t>
            </a:r>
            <a:endParaRPr lang="en-US" dirty="0" err="1"/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Tervezzün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gy</a:t>
            </a:r>
            <a:r>
              <a:rPr lang="en-US" dirty="0">
                <a:latin typeface="Tele-GroteskFet"/>
              </a:rPr>
              <a:t> </a:t>
            </a:r>
            <a:r>
              <a:rPr lang="en-US" dirty="0" err="1">
                <a:latin typeface="Tele-GroteskFet"/>
              </a:rPr>
              <a:t>széle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örben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minden</a:t>
            </a:r>
            <a:r>
              <a:rPr lang="en-US" dirty="0">
                <a:latin typeface="Tele-GroteskFet"/>
              </a:rPr>
              <a:t> DPS-</a:t>
            </a:r>
            <a:r>
              <a:rPr lang="en-US" dirty="0" err="1">
                <a:latin typeface="Tele-GroteskFet"/>
              </a:rPr>
              <a:t>né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használható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egoldás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nna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biztosítására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hogy</a:t>
            </a:r>
            <a:endParaRPr lang="en-US" dirty="0" err="1"/>
          </a:p>
          <a:p>
            <a:pPr lvl="3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Egységesen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standardizálta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ogoljunk</a:t>
            </a:r>
            <a:endParaRPr lang="en-US" dirty="0" err="1">
              <a:latin typeface="Tele-GroteskFet" pitchFamily="2" charset="0"/>
            </a:endParaRPr>
          </a:p>
          <a:p>
            <a:pPr lvl="3">
              <a:buFont typeface="Arial" pitchFamily="2" charset="2"/>
              <a:buChar char="•"/>
            </a:pPr>
            <a:r>
              <a:rPr lang="en-US" dirty="0">
                <a:latin typeface="Tele-GroteskFet"/>
              </a:rPr>
              <a:t>Multitenant </a:t>
            </a:r>
            <a:r>
              <a:rPr lang="en-US" dirty="0" err="1">
                <a:latin typeface="Tele-GroteskFet"/>
              </a:rPr>
              <a:t>logolást</a:t>
            </a:r>
            <a:r>
              <a:rPr lang="en-US" dirty="0">
                <a:latin typeface="Tele-GroteskFet"/>
              </a:rPr>
              <a:t> is </a:t>
            </a:r>
            <a:r>
              <a:rPr lang="en-US" dirty="0" err="1">
                <a:latin typeface="Tele-GroteskFet"/>
              </a:rPr>
              <a:t>biztosíthassunk</a:t>
            </a:r>
            <a:endParaRPr lang="en-US" dirty="0" err="1"/>
          </a:p>
          <a:p>
            <a:pPr lvl="3">
              <a:buFont typeface="Arial" pitchFamily="2" charset="2"/>
              <a:buChar char="•"/>
            </a:pPr>
            <a:r>
              <a:rPr lang="en-US" dirty="0">
                <a:latin typeface="Tele-GroteskFet"/>
              </a:rPr>
              <a:t>Az </a:t>
            </a:r>
            <a:r>
              <a:rPr lang="en-US" dirty="0" err="1">
                <a:latin typeface="Tele-GroteskFet"/>
              </a:rPr>
              <a:t>ismert</a:t>
            </a:r>
            <a:r>
              <a:rPr lang="en-US" dirty="0">
                <a:latin typeface="Tele-GroteskFet"/>
              </a:rPr>
              <a:t> ELK-s </a:t>
            </a:r>
            <a:r>
              <a:rPr lang="en-US" dirty="0" err="1">
                <a:latin typeface="Tele-GroteskFet"/>
              </a:rPr>
              <a:t>problémák</a:t>
            </a:r>
            <a:r>
              <a:rPr lang="en-US" dirty="0">
                <a:latin typeface="Tele-GroteskFet"/>
              </a:rPr>
              <a:t> ne </a:t>
            </a:r>
            <a:r>
              <a:rPr lang="en-US" dirty="0" err="1">
                <a:latin typeface="Tele-GroteskFet"/>
              </a:rPr>
              <a:t>jelenjenek</a:t>
            </a:r>
            <a:r>
              <a:rPr lang="en-US" dirty="0">
                <a:latin typeface="Tele-GroteskFet"/>
              </a:rPr>
              <a:t> meg </a:t>
            </a:r>
            <a:r>
              <a:rPr lang="en-US" dirty="0" err="1">
                <a:latin typeface="Tele-GroteskFet"/>
              </a:rPr>
              <a:t>újra</a:t>
            </a:r>
            <a:endParaRPr lang="en-US" dirty="0" err="1"/>
          </a:p>
          <a:p>
            <a:pPr lvl="3">
              <a:buFont typeface="Arial" pitchFamily="2" charset="2"/>
              <a:buChar char="•"/>
            </a:pPr>
            <a:r>
              <a:rPr lang="en-US" dirty="0">
                <a:latin typeface="Tele-GroteskFet"/>
              </a:rPr>
              <a:t>A </a:t>
            </a:r>
            <a:r>
              <a:rPr lang="en-US" dirty="0" err="1">
                <a:latin typeface="Tele-GroteskFet"/>
              </a:rPr>
              <a:t>megoldásunk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széle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örbe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fogadot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legyen</a:t>
            </a:r>
            <a:endParaRPr lang="en-US" dirty="0" err="1"/>
          </a:p>
          <a:p>
            <a:pPr marL="85725" lvl="3" indent="0">
              <a:buNone/>
            </a:pPr>
            <a:endParaRPr lang="en-US" dirty="0"/>
          </a:p>
          <a:p>
            <a:pPr>
              <a:buClr>
                <a:srgbClr val="E20074"/>
              </a:buClr>
            </a:pPr>
            <a:r>
              <a:rPr lang="en-US" dirty="0">
                <a:latin typeface="Tele-GroteskFet"/>
              </a:rPr>
              <a:t>A </a:t>
            </a:r>
            <a:r>
              <a:rPr lang="en-US" dirty="0" err="1">
                <a:latin typeface="Tele-GroteskFet"/>
              </a:rPr>
              <a:t>jelenlegi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állapo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az</a:t>
            </a:r>
            <a:r>
              <a:rPr lang="en-US" dirty="0">
                <a:latin typeface="Tele-GroteskFet"/>
              </a:rPr>
              <a:t>, </a:t>
            </a:r>
            <a:r>
              <a:rPr lang="en-US" dirty="0" err="1">
                <a:latin typeface="Tele-GroteskFet"/>
              </a:rPr>
              <a:t>hogy</a:t>
            </a:r>
            <a:endParaRPr lang="en-US" dirty="0" err="1"/>
          </a:p>
          <a:p>
            <a:pPr marL="171450" indent="-171450">
              <a:buFont typeface="Arial" pitchFamily="2" charset="2"/>
              <a:buChar char="•"/>
            </a:pPr>
            <a:r>
              <a:rPr lang="en-US" dirty="0">
                <a:latin typeface="Tele-GroteskFet"/>
              </a:rPr>
              <a:t>A </a:t>
            </a:r>
            <a:r>
              <a:rPr lang="en-US" dirty="0" err="1">
                <a:latin typeface="Tele-GroteskFet"/>
              </a:rPr>
              <a:t>WorkGroup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unkájá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beindítottuk</a:t>
            </a:r>
            <a:endParaRPr lang="en-US" dirty="0" err="1"/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Folyamatban</a:t>
            </a:r>
            <a:r>
              <a:rPr lang="en-US" dirty="0">
                <a:latin typeface="Tele-GroteskFet"/>
              </a:rPr>
              <a:t> van a </a:t>
            </a:r>
            <a:r>
              <a:rPr lang="en-US" dirty="0" err="1">
                <a:latin typeface="Tele-GroteskFet"/>
              </a:rPr>
              <a:t>tervezés</a:t>
            </a:r>
            <a:endParaRPr lang="en-US" dirty="0" err="1"/>
          </a:p>
          <a:p>
            <a:pPr marL="171450" indent="-171450">
              <a:buFont typeface="Arial" pitchFamily="2" charset="2"/>
              <a:buChar char="•"/>
            </a:pPr>
            <a:r>
              <a:rPr lang="en-US" dirty="0" err="1">
                <a:latin typeface="Tele-GroteskFet"/>
              </a:rPr>
              <a:t>És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zzel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párhuzamosan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egkezdődött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már</a:t>
            </a:r>
            <a:r>
              <a:rPr lang="en-US" dirty="0">
                <a:latin typeface="Tele-GroteskFet"/>
              </a:rPr>
              <a:t> a </a:t>
            </a:r>
            <a:r>
              <a:rPr lang="en-US" dirty="0" err="1">
                <a:latin typeface="Tele-GroteskFet"/>
              </a:rPr>
              <a:t>réteges</a:t>
            </a:r>
            <a:r>
              <a:rPr lang="en-US" dirty="0">
                <a:latin typeface="Tele-GroteskFet"/>
              </a:rPr>
              <a:t> common logging library </a:t>
            </a:r>
            <a:r>
              <a:rPr lang="en-US" dirty="0" err="1">
                <a:latin typeface="Tele-GroteskFet"/>
              </a:rPr>
              <a:t>implementálása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első</a:t>
            </a:r>
            <a:r>
              <a:rPr lang="en-US" dirty="0">
                <a:latin typeface="Tele-GroteskFet"/>
              </a:rPr>
              <a:t> </a:t>
            </a:r>
            <a:r>
              <a:rPr lang="en-US" dirty="0" err="1">
                <a:latin typeface="Tele-GroteskFet"/>
              </a:rPr>
              <a:t>körben</a:t>
            </a:r>
            <a:r>
              <a:rPr lang="en-US" dirty="0">
                <a:latin typeface="Tele-GroteskFet"/>
              </a:rPr>
              <a:t> Java </a:t>
            </a:r>
            <a:r>
              <a:rPr lang="en-US" dirty="0" err="1">
                <a:latin typeface="Tele-GroteskFet"/>
              </a:rPr>
              <a:t>nyelven</a:t>
            </a:r>
            <a:endParaRPr lang="en-US" dirty="0" err="1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E97663-D53D-4421-A2F3-0C076A052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65255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E97663-D53D-4421-A2F3-0C076A0529F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 pitchFamily="2" charset="0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26509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e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3.jpe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e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077492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dirty="0" err="1"/>
              <a:t>TeleGrotesk</a:t>
            </a:r>
            <a:r>
              <a:rPr lang="en-US" noProof="0" dirty="0"/>
              <a:t> Headline Ultra 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noProof="0" dirty="0"/>
              <a:t>Sub-heading Tele-</a:t>
            </a:r>
            <a:r>
              <a:rPr lang="en-US" noProof="0" dirty="0" err="1"/>
              <a:t>GroteskFet</a:t>
            </a:r>
            <a:r>
              <a:rPr lang="en-US" noProof="0" dirty="0"/>
              <a:t>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34" name="Gruppieren 33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59" name="Gruppieren 58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42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8115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Living Magen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762125"/>
            <a:ext cx="10874374" cy="1661993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</a:t>
            </a:r>
            <a:br>
              <a:rPr lang="en-US" dirty="0"/>
            </a:br>
            <a:r>
              <a:rPr lang="en-US" dirty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795172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ving Magenta vertical">
    <p:bg>
      <p:bgPr>
        <a:blipFill dpi="0" rotWithShape="1">
          <a:blip r:embed="rId2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Headline" pitchFamily="2" charset="0"/>
              </a:defRPr>
            </a:lvl1pPr>
          </a:lstStyle>
          <a:p>
            <a:r>
              <a:rPr lang="en-US" dirty="0"/>
              <a:t>01</a:t>
            </a:r>
            <a:br>
              <a:rPr lang="en-US" dirty="0"/>
            </a:br>
            <a:r>
              <a:rPr lang="en-US" dirty="0" err="1"/>
              <a:t>TeleGrotesk</a:t>
            </a:r>
            <a:r>
              <a:rPr lang="en-US" dirty="0"/>
              <a:t> Headline</a:t>
            </a:r>
            <a:br>
              <a:rPr lang="en-US" dirty="0"/>
            </a:br>
            <a:r>
              <a:rPr lang="en-US" dirty="0"/>
              <a:t>(45) 60 PT</a:t>
            </a:r>
          </a:p>
        </p:txBody>
      </p:sp>
    </p:spTree>
    <p:extLst>
      <p:ext uri="{BB962C8B-B14F-4D97-AF65-F5344CB8AC3E}">
        <p14:creationId xmlns:p14="http://schemas.microsoft.com/office/powerpoint/2010/main" val="1267154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3225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322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(60) 75 90 PT</a:t>
            </a:r>
          </a:p>
        </p:txBody>
      </p:sp>
      <p:grpSp>
        <p:nvGrpSpPr>
          <p:cNvPr id="9" name="Gruppieren 8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10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6" name="Gruppieren 15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17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434242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/>
              <a:t>TELEGROTESK Headline ULTRA</a:t>
            </a:r>
            <a:br>
              <a:rPr lang="en-US" sz="4800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Tele-</a:t>
            </a:r>
            <a:r>
              <a:rPr lang="en-US" dirty="0" err="1"/>
              <a:t>Grotesk</a:t>
            </a:r>
            <a:r>
              <a:rPr lang="en-US" dirty="0"/>
              <a:t> Normal,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5079" name="Gruppieren 45078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5078" name="Gruppieren 4507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45061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2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3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4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5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6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7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8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9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0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1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2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3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4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5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6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7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 descr="TKOM_39L_Grillen_7475.jpg"/>
          <p:cNvPicPr>
            <a:picLocks noChangeAspect="1"/>
          </p:cNvPicPr>
          <p:nvPr userDrawn="1"/>
        </p:nvPicPr>
        <p:blipFill>
          <a:blip r:embed="rId2"/>
          <a:srcRect b="58195"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</a:t>
            </a:r>
            <a:br>
              <a:rPr lang="en-US" dirty="0"/>
            </a:b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Tele-</a:t>
            </a:r>
            <a:r>
              <a:rPr lang="en-US" dirty="0" err="1"/>
              <a:t>Grotesk</a:t>
            </a:r>
            <a:r>
              <a:rPr lang="en-US" dirty="0"/>
              <a:t> Normal,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8" name="Gruppieren 1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19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077492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dirty="0" err="1"/>
              <a:t>TeleGrotesk</a:t>
            </a:r>
            <a:r>
              <a:rPr lang="en-US" noProof="0" dirty="0"/>
              <a:t> Headline Ultra 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noProof="0" dirty="0"/>
              <a:t>Sub-heading Tele-</a:t>
            </a:r>
            <a:r>
              <a:rPr lang="en-US" noProof="0" dirty="0" err="1"/>
              <a:t>GroteskFet</a:t>
            </a:r>
            <a:r>
              <a:rPr lang="en-US" noProof="0" dirty="0"/>
              <a:t>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34" name="Gruppieren 33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59" name="Gruppieren 58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42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112637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(60) 75 90 PT</a:t>
            </a:r>
          </a:p>
        </p:txBody>
      </p:sp>
      <p:grpSp>
        <p:nvGrpSpPr>
          <p:cNvPr id="9" name="Gruppieren 8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10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6" name="Gruppieren 15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17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98623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vertical lef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6" name="Gruppieren 35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1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22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23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24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25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61" name="Gruppieren 60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44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542012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0" name="Gruppieren 39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41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66" name="Gruppieren 65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67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269606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vertical lef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6" name="Gruppieren 35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1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22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23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24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25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61" name="Gruppieren 60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44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22653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transparen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996634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Headline </a:t>
            </a:r>
            <a:r>
              <a:rPr lang="en-US" dirty="0"/>
              <a:t>Ultra (60) 75 90 PT</a:t>
            </a:r>
          </a:p>
        </p:txBody>
      </p:sp>
      <p:grpSp>
        <p:nvGrpSpPr>
          <p:cNvPr id="5" name="Gruppieren 4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3" name="Gruppieren 12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14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760726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left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8" name="Gruppieren 7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9" name="Freeform 21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22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23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24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25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16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6275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5" name="Gruppieren 14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16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3" name="Gruppieren 32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34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961410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830997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Content/Agenda</a:t>
            </a:r>
          </a:p>
        </p:txBody>
      </p:sp>
    </p:spTree>
    <p:extLst>
      <p:ext uri="{BB962C8B-B14F-4D97-AF65-F5344CB8AC3E}">
        <p14:creationId xmlns:p14="http://schemas.microsoft.com/office/powerpoint/2010/main" val="371869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Content/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56755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Living Magen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762125"/>
            <a:ext cx="10874374" cy="1661993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</a:t>
            </a:r>
            <a:br>
              <a:rPr lang="en-US" dirty="0"/>
            </a:br>
            <a:r>
              <a:rPr lang="en-US" dirty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6621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ving Magenta vertical">
    <p:bg>
      <p:bgPr>
        <a:blipFill dpi="0" rotWithShape="1">
          <a:blip r:embed="rId2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Headline" pitchFamily="2" charset="0"/>
              </a:defRPr>
            </a:lvl1pPr>
          </a:lstStyle>
          <a:p>
            <a:r>
              <a:rPr lang="en-US" dirty="0"/>
              <a:t>01</a:t>
            </a:r>
            <a:br>
              <a:rPr lang="en-US" dirty="0"/>
            </a:br>
            <a:r>
              <a:rPr lang="en-US" dirty="0" err="1"/>
              <a:t>TeleGrotesk</a:t>
            </a:r>
            <a:r>
              <a:rPr lang="en-US" dirty="0"/>
              <a:t> Headline</a:t>
            </a:r>
            <a:br>
              <a:rPr lang="en-US" dirty="0"/>
            </a:br>
            <a:r>
              <a:rPr lang="en-US" dirty="0"/>
              <a:t>(45) 60 PT</a:t>
            </a:r>
          </a:p>
        </p:txBody>
      </p:sp>
    </p:spTree>
    <p:extLst>
      <p:ext uri="{BB962C8B-B14F-4D97-AF65-F5344CB8AC3E}">
        <p14:creationId xmlns:p14="http://schemas.microsoft.com/office/powerpoint/2010/main" val="1590522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15932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93357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3225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38550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0" name="Gruppieren 39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41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66" name="Gruppieren 65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67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75081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607017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819778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788158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410849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322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17148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899522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/>
              <a:t>TELEGROTESK Headline ULTRA</a:t>
            </a:r>
            <a:br>
              <a:rPr lang="en-US" sz="4800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Tele-</a:t>
            </a:r>
            <a:r>
              <a:rPr lang="en-US" dirty="0" err="1"/>
              <a:t>Grotesk</a:t>
            </a:r>
            <a:r>
              <a:rPr lang="en-US" dirty="0"/>
              <a:t> Normal,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5079" name="Gruppieren 45078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5078" name="Gruppieren 4507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45061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2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3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4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5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6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7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8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9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0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1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2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3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4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5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6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7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743168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 descr="TKOM_39L_Grillen_7475.jpg"/>
          <p:cNvPicPr>
            <a:picLocks noChangeAspect="1"/>
          </p:cNvPicPr>
          <p:nvPr userDrawn="1"/>
        </p:nvPicPr>
        <p:blipFill>
          <a:blip r:embed="rId2"/>
          <a:srcRect b="58195"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</a:t>
            </a:r>
            <a:br>
              <a:rPr lang="en-US" dirty="0"/>
            </a:b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Tele-</a:t>
            </a:r>
            <a:r>
              <a:rPr lang="en-US" dirty="0" err="1"/>
              <a:t>Grotesk</a:t>
            </a:r>
            <a:r>
              <a:rPr lang="en-US" dirty="0"/>
              <a:t> Normal,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8" name="Gruppieren 1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19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300015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712863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412139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transparen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996634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Headline </a:t>
            </a:r>
            <a:r>
              <a:rPr lang="en-US" dirty="0"/>
              <a:t>Ultra (60) 75 90 PT</a:t>
            </a:r>
          </a:p>
        </p:txBody>
      </p:sp>
      <p:grpSp>
        <p:nvGrpSpPr>
          <p:cNvPr id="5" name="Gruppieren 4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3" name="Gruppieren 12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14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84543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500417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left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8" name="Gruppieren 7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9" name="Freeform 21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22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23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24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25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16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860364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5" name="Gruppieren 14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16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3" name="Gruppieren 32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34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9793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830997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Content/Agenda</a:t>
            </a:r>
          </a:p>
        </p:txBody>
      </p:sp>
    </p:spTree>
    <p:extLst>
      <p:ext uri="{BB962C8B-B14F-4D97-AF65-F5344CB8AC3E}">
        <p14:creationId xmlns:p14="http://schemas.microsoft.com/office/powerpoint/2010/main" val="53415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Content/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5025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tags" Target="../tags/tag8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vmlDrawing" Target="../drawings/vmlDrawing7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451085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29" imgW="360" imgH="360" progId="TCLayout.ActiveDocument.1">
                  <p:embed/>
                </p:oleObj>
              </mc:Choice>
              <mc:Fallback>
                <p:oleObj name="think-cell Folie" r:id="rId29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832001"/>
            <a:ext cx="828000" cy="3240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8320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832001"/>
            <a:ext cx="5148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r>
              <a:rPr lang="en-US" noProof="0" dirty="0"/>
              <a:t>– Strictly confidential, Confidential, Internal –     Author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324001" y="5832000"/>
            <a:ext cx="2170213" cy="32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72" r:id="rId12"/>
    <p:sldLayoutId id="2147483971" r:id="rId13"/>
    <p:sldLayoutId id="2147483973" r:id="rId14"/>
    <p:sldLayoutId id="2147483716" r:id="rId15"/>
    <p:sldLayoutId id="2147483718" r:id="rId16"/>
    <p:sldLayoutId id="2147483722" r:id="rId17"/>
    <p:sldLayoutId id="2147483723" r:id="rId18"/>
    <p:sldLayoutId id="2147483969" r:id="rId19"/>
    <p:sldLayoutId id="2147483970" r:id="rId20"/>
    <p:sldLayoutId id="2147483898" r:id="rId21"/>
    <p:sldLayoutId id="2147483711" r:id="rId22"/>
    <p:sldLayoutId id="2147483930" r:id="rId23"/>
    <p:sldLayoutId id="2147483959" r:id="rId24"/>
    <p:sldLayoutId id="2147483960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Folie" r:id="rId29" imgW="360" imgH="360" progId="TCLayout.ActiveDocument.1">
                  <p:embed/>
                </p:oleObj>
              </mc:Choice>
              <mc:Fallback>
                <p:oleObj name="think-cell Folie" r:id="rId29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832001"/>
            <a:ext cx="828000" cy="3240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8320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832001"/>
            <a:ext cx="5148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r>
              <a:rPr lang="en-US" noProof="0" dirty="0"/>
              <a:t>– Strictly confidential, Confidential, Internal –     Author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324001" y="5832000"/>
            <a:ext cx="2170213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728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  <p:sldLayoutId id="2147484002" r:id="rId12"/>
    <p:sldLayoutId id="2147484003" r:id="rId13"/>
    <p:sldLayoutId id="2147484004" r:id="rId14"/>
    <p:sldLayoutId id="2147484005" r:id="rId15"/>
    <p:sldLayoutId id="2147484006" r:id="rId16"/>
    <p:sldLayoutId id="2147484007" r:id="rId17"/>
    <p:sldLayoutId id="2147484008" r:id="rId18"/>
    <p:sldLayoutId id="2147484009" r:id="rId19"/>
    <p:sldLayoutId id="2147484010" r:id="rId20"/>
    <p:sldLayoutId id="2147484011" r:id="rId21"/>
    <p:sldLayoutId id="2147484012" r:id="rId22"/>
    <p:sldLayoutId id="2147484013" r:id="rId23"/>
    <p:sldLayoutId id="2147484014" r:id="rId24"/>
    <p:sldLayoutId id="2147484015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70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674">
          <p15:clr>
            <a:srgbClr val="F26B43"/>
          </p15:clr>
        </p15:guide>
        <p15:guide id="9" orient="horz" pos="3266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mockk.io" TargetMode="External"/><Relationship Id="rId2" Type="http://schemas.openxmlformats.org/officeDocument/2006/relationships/hyperlink" Target="https://github.com/kotest/kotest" TargetMode="External"/><Relationship Id="rId1" Type="http://schemas.openxmlformats.org/officeDocument/2006/relationships/slideLayout" Target="../slideLayouts/slideLayout42.xml"/><Relationship Id="rId4" Type="http://schemas.openxmlformats.org/officeDocument/2006/relationships/hyperlink" Target="https://ktor.io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sz="4000" dirty="0">
                <a:latin typeface="Consolas"/>
              </a:rPr>
              <a:t>A nagy </a:t>
            </a:r>
            <a:r>
              <a:rPr lang="hu-HU" sz="4000" dirty="0" err="1">
                <a:latin typeface="Consolas"/>
              </a:rPr>
              <a:t>Kotlin</a:t>
            </a:r>
            <a:r>
              <a:rPr lang="hu-HU" sz="4000" dirty="0">
                <a:latin typeface="Consolas"/>
              </a:rPr>
              <a:t> sztori avagy hogyan lehet a </a:t>
            </a:r>
            <a:r>
              <a:rPr lang="hu-HU" sz="4000" dirty="0" err="1">
                <a:latin typeface="Consolas"/>
              </a:rPr>
              <a:t>Kotlin</a:t>
            </a:r>
            <a:r>
              <a:rPr lang="hu-HU" sz="4000" dirty="0">
                <a:latin typeface="Consolas"/>
              </a:rPr>
              <a:t> nyelvet backend fejlesztésben hatékonyan alkalmazni</a:t>
            </a:r>
            <a:endParaRPr lang="hu-HU" sz="4000"/>
          </a:p>
        </p:txBody>
      </p:sp>
    </p:spTree>
    <p:extLst>
      <p:ext uri="{BB962C8B-B14F-4D97-AF65-F5344CB8AC3E}">
        <p14:creationId xmlns:p14="http://schemas.microsoft.com/office/powerpoint/2010/main" val="376608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06E8C71C-82F3-4924-9C20-E523D8237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Null </a:t>
            </a:r>
            <a:r>
              <a:rPr lang="hu-HU" dirty="0" err="1"/>
              <a:t>safety</a:t>
            </a:r>
            <a:endParaRPr lang="hu-HU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B7318DDF-66FA-41A1-991C-6B062100F2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0</a:t>
            </a:fld>
            <a:endParaRPr lang="en-US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97B52B-E88E-C343-8994-D3A81FF5EA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7875" y="679174"/>
            <a:ext cx="5204246" cy="5121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47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AD90481-20EE-474A-B902-D3D74C0F2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/>
              <a:t>Kotlin</a:t>
            </a:r>
            <a:r>
              <a:rPr lang="hu-HU" dirty="0"/>
              <a:t> </a:t>
            </a:r>
            <a:r>
              <a:rPr lang="hu-HU" dirty="0" err="1"/>
              <a:t>ecosystem</a:t>
            </a:r>
            <a:r>
              <a:rPr lang="hu-HU" dirty="0"/>
              <a:t> és eszközök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7D23E98E-BD3C-4F8D-8E61-EE7B75D28A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ü"/>
            </a:pPr>
            <a:r>
              <a:rPr lang="hu-HU" sz="2800" err="1"/>
              <a:t>Kotest</a:t>
            </a:r>
            <a:r>
              <a:rPr lang="hu-HU" sz="2800" dirty="0"/>
              <a:t> - </a:t>
            </a:r>
            <a:r>
              <a:rPr lang="hu-HU" sz="2800" dirty="0">
                <a:hlinkClick r:id="rId2"/>
              </a:rPr>
              <a:t>https://github.com/kotest/kotest</a:t>
            </a:r>
            <a:r>
              <a:rPr lang="hu-HU" sz="2800" dirty="0"/>
              <a:t> 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hu-HU" sz="2800" err="1"/>
              <a:t>Mockk</a:t>
            </a:r>
            <a:r>
              <a:rPr lang="hu-HU" sz="2800" dirty="0"/>
              <a:t> - </a:t>
            </a:r>
            <a:r>
              <a:rPr lang="hu-HU" sz="2800" dirty="0">
                <a:hlinkClick r:id="rId3"/>
              </a:rPr>
              <a:t>https://mockk.io</a:t>
            </a:r>
            <a:endParaRPr lang="hu-HU" sz="2800" dirty="0"/>
          </a:p>
          <a:p>
            <a:pPr marL="285750" indent="-285750">
              <a:buFont typeface="Wingdings" pitchFamily="2" charset="2"/>
              <a:buChar char="ü"/>
            </a:pPr>
            <a:r>
              <a:rPr lang="hu-HU" sz="2800" err="1"/>
              <a:t>Ktor</a:t>
            </a:r>
            <a:r>
              <a:rPr lang="hu-HU" sz="2800" dirty="0"/>
              <a:t> - </a:t>
            </a:r>
            <a:r>
              <a:rPr lang="hu-HU" sz="2800" dirty="0">
                <a:hlinkClick r:id="rId4"/>
              </a:rPr>
              <a:t>https://ktor.io</a:t>
            </a:r>
            <a:endParaRPr lang="hu-HU" sz="2800" dirty="0"/>
          </a:p>
          <a:p>
            <a:endParaRPr lang="hu-HU" dirty="0"/>
          </a:p>
          <a:p>
            <a:pPr marL="285750" indent="-285750">
              <a:buFont typeface="Wingdings" pitchFamily="2" charset="2"/>
              <a:buChar char="ü"/>
            </a:pPr>
            <a:endParaRPr lang="hu-HU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2232F802-3B80-47E0-8018-E45FC19BE7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89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323851" y="1762125"/>
            <a:ext cx="10874374" cy="2659190"/>
          </a:xfrm>
        </p:spPr>
        <p:txBody>
          <a:bodyPr/>
          <a:lstStyle/>
          <a:p>
            <a:pPr algn="ctr"/>
            <a:r>
              <a:rPr lang="hu-HU" sz="9600" b="1"/>
              <a:t>Köszönöm a figyelmet</a:t>
            </a:r>
            <a:endParaRPr lang="hu-HU" sz="9600" b="1" dirty="0"/>
          </a:p>
        </p:txBody>
      </p:sp>
    </p:spTree>
    <p:extLst>
      <p:ext uri="{BB962C8B-B14F-4D97-AF65-F5344CB8AC3E}">
        <p14:creationId xmlns:p14="http://schemas.microsoft.com/office/powerpoint/2010/main" val="2503349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71C3251C-6B1B-4F2C-9810-F490DE826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999" y="252000"/>
            <a:ext cx="10872000" cy="504000"/>
          </a:xfrm>
        </p:spPr>
        <p:txBody>
          <a:bodyPr wrap="square" anchor="t">
            <a:normAutofit/>
          </a:bodyPr>
          <a:lstStyle/>
          <a:p>
            <a:r>
              <a:rPr lang="en-US" err="1"/>
              <a:t>Bemutatkozás</a:t>
            </a:r>
            <a:endParaRPr lang="en-US" dirty="0" err="1"/>
          </a:p>
        </p:txBody>
      </p:sp>
      <p:pic>
        <p:nvPicPr>
          <p:cNvPr id="3" name="Kép 3" descr="A képen személy, férfi, nyakkendő látható&#10;&#10;Automatikusan generált leírás">
            <a:extLst>
              <a:ext uri="{FF2B5EF4-FFF2-40B4-BE49-F238E27FC236}">
                <a16:creationId xmlns:a16="http://schemas.microsoft.com/office/drawing/2014/main" id="{C8C56136-946D-4554-8733-527CEA4584D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619" r="-1" b="15618"/>
          <a:stretch/>
        </p:blipFill>
        <p:spPr>
          <a:xfrm>
            <a:off x="324000" y="1476374"/>
            <a:ext cx="5365600" cy="4032251"/>
          </a:xfrm>
          <a:prstGeom prst="rect">
            <a:avLst/>
          </a:prstGeom>
          <a:noFill/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7DE78C-C67B-4EA9-A58A-0EA236E9A2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32625" y="1476374"/>
            <a:ext cx="5365600" cy="4032251"/>
          </a:xfrm>
        </p:spPr>
        <p:txBody>
          <a:bodyPr wrap="square" anchor="t">
            <a:normAutofit/>
          </a:bodyPr>
          <a:lstStyle/>
          <a:p>
            <a:pPr marL="285750" indent="-285750">
              <a:buFont typeface="Arial" pitchFamily="2" charset="2"/>
              <a:buChar char="•"/>
            </a:pPr>
            <a:r>
              <a:rPr lang="en-US" sz="2800" dirty="0">
                <a:latin typeface="Tele-GroteskFet"/>
              </a:rPr>
              <a:t>15 </a:t>
            </a:r>
            <a:r>
              <a:rPr lang="en-US" sz="2800" err="1">
                <a:latin typeface="Tele-GroteskFet"/>
              </a:rPr>
              <a:t>éves</a:t>
            </a:r>
            <a:r>
              <a:rPr lang="en-US" sz="2800" dirty="0">
                <a:latin typeface="Tele-GroteskFet"/>
              </a:rPr>
              <a:t> </a:t>
            </a:r>
            <a:r>
              <a:rPr lang="en-US" sz="2800" err="1">
                <a:latin typeface="Tele-GroteskFet"/>
              </a:rPr>
              <a:t>fejlesztői</a:t>
            </a:r>
            <a:r>
              <a:rPr lang="en-US" sz="2800" dirty="0">
                <a:latin typeface="Tele-GroteskFet"/>
              </a:rPr>
              <a:t> </a:t>
            </a:r>
            <a:r>
              <a:rPr lang="en-US" sz="2800" err="1">
                <a:latin typeface="Tele-GroteskFet"/>
              </a:rPr>
              <a:t>tapasztalat</a:t>
            </a:r>
            <a:endParaRPr lang="en-US" sz="2800">
              <a:latin typeface="Tele-GroteskFet"/>
            </a:endParaRPr>
          </a:p>
          <a:p>
            <a:pPr marL="285750" indent="-285750">
              <a:buFont typeface="Arial" pitchFamily="2" charset="2"/>
              <a:buChar char="•"/>
            </a:pPr>
            <a:r>
              <a:rPr lang="en-US" sz="2800" dirty="0">
                <a:latin typeface="Tele-GroteskFet"/>
              </a:rPr>
              <a:t>Backend </a:t>
            </a:r>
            <a:r>
              <a:rPr lang="en-US" sz="2800" err="1">
                <a:latin typeface="Tele-GroteskFet"/>
              </a:rPr>
              <a:t>fejlesztési</a:t>
            </a:r>
            <a:r>
              <a:rPr lang="en-US" sz="2800" dirty="0">
                <a:latin typeface="Tele-GroteskFet"/>
              </a:rPr>
              <a:t> </a:t>
            </a:r>
            <a:r>
              <a:rPr lang="en-US" sz="2800" err="1">
                <a:latin typeface="Tele-GroteskFet"/>
              </a:rPr>
              <a:t>fókusz</a:t>
            </a:r>
            <a:endParaRPr lang="en-US" sz="2800">
              <a:latin typeface="Tele-GroteskFet"/>
            </a:endParaRPr>
          </a:p>
          <a:p>
            <a:pPr marL="285750" indent="-285750">
              <a:buFont typeface="Arial" pitchFamily="2" charset="2"/>
              <a:buChar char="•"/>
            </a:pPr>
            <a:r>
              <a:rPr lang="en-US" sz="2800" dirty="0">
                <a:latin typeface="Tele-GroteskFet"/>
              </a:rPr>
              <a:t>Cloud-native </a:t>
            </a:r>
            <a:r>
              <a:rPr lang="en-US" sz="2800" err="1">
                <a:latin typeface="Tele-GroteskFet"/>
              </a:rPr>
              <a:t>alkalmazások</a:t>
            </a:r>
            <a:endParaRPr lang="en-US" sz="2800">
              <a:latin typeface="Tele-GroteskFet"/>
            </a:endParaRPr>
          </a:p>
          <a:p>
            <a:pPr marL="285750" indent="-285750">
              <a:buFont typeface="Arial" pitchFamily="2" charset="2"/>
              <a:buChar char="•"/>
            </a:pPr>
            <a:r>
              <a:rPr lang="en-US" sz="2800">
                <a:latin typeface="Tele-GroteskFet"/>
              </a:rPr>
              <a:t>Chapter Lead Magyar </a:t>
            </a:r>
            <a:r>
              <a:rPr lang="en-US" sz="2800" err="1">
                <a:latin typeface="Tele-GroteskFet"/>
              </a:rPr>
              <a:t>Telekomban</a:t>
            </a:r>
            <a:endParaRPr lang="en-US" sz="2800">
              <a:latin typeface="Tele-GroteskFet"/>
            </a:endParaRP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1484F929-0523-4026-B938-6353DCD2BE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836000" y="5832001"/>
            <a:ext cx="360000" cy="324000"/>
          </a:xfrm>
        </p:spPr>
        <p:txBody>
          <a:bodyPr wrap="square" anchor="ctr">
            <a:normAutofit/>
          </a:bodyPr>
          <a:lstStyle/>
          <a:p>
            <a:pPr fontAlgn="base">
              <a:spcAft>
                <a:spcPts val="60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ts val="600"/>
                </a:spcAft>
              </a:pPr>
              <a:t>2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83764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/>
              <a:t>Sztori</a:t>
            </a:r>
            <a:r>
              <a:rPr lang="hu-HU"/>
              <a:t> #1 – A kezdetek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215900" lvl="2" indent="-215900">
              <a:buClr>
                <a:srgbClr val="4B4B4B"/>
              </a:buClr>
            </a:pPr>
            <a:endParaRPr lang="hu-HU" dirty="0"/>
          </a:p>
          <a:p>
            <a:pPr marL="215900" lvl="2" indent="-215900"/>
            <a:endParaRPr lang="hu-HU" dirty="0"/>
          </a:p>
          <a:p>
            <a:pPr marL="215900" lvl="2" indent="-215900"/>
            <a:endParaRPr lang="hu-HU" dirty="0"/>
          </a:p>
          <a:p>
            <a:pPr marL="215900" lvl="2" indent="-215900"/>
            <a:endParaRPr lang="hu-HU" dirty="0"/>
          </a:p>
          <a:p>
            <a:pPr marL="215900" lvl="2" indent="-215900"/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294967295"/>
          </p:nvPr>
        </p:nvSpPr>
        <p:spPr>
          <a:xfrm>
            <a:off x="11161713" y="5832475"/>
            <a:ext cx="360362" cy="323850"/>
          </a:xfrm>
        </p:spPr>
        <p:txBody>
          <a:bodyPr/>
          <a:lstStyle/>
          <a:p>
            <a:pPr marL="0" marR="0" lvl="0" indent="0" algn="r" defTabSz="5762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B82B61-49DC-4937-83D9-6C97F6C89D5B}" type="slidenum">
              <a:rPr kumimoji="0" lang="en-US" sz="115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 pitchFamily="2" charset="0"/>
                <a:ea typeface="+mn-ea"/>
              </a:rPr>
              <a:pPr marL="0" marR="0" lvl="0" indent="0" algn="r" defTabSz="57622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 pitchFamily="2" charset="0"/>
              <a:ea typeface="+mn-ea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85CC748B-F475-154C-A3FC-5FC7BB85AD1E}"/>
              </a:ext>
            </a:extLst>
          </p:cNvPr>
          <p:cNvSpPr txBox="1">
            <a:spLocks/>
          </p:cNvSpPr>
          <p:nvPr/>
        </p:nvSpPr>
        <p:spPr bwMode="white">
          <a:xfrm>
            <a:off x="323849" y="4047284"/>
            <a:ext cx="9719951" cy="1137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400" kern="1200" smtClean="0">
                <a:solidFill>
                  <a:schemeClr val="bg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Tele-GroteskNor"/>
              </a:rPr>
              <a:t>“</a:t>
            </a:r>
            <a:r>
              <a:rPr lang="en-US" dirty="0" err="1">
                <a:latin typeface="Tele-GroteskNor"/>
              </a:rPr>
              <a:t>Olvashatóbb</a:t>
            </a:r>
            <a:r>
              <a:rPr lang="en-US" dirty="0">
                <a:latin typeface="Tele-GroteskNor"/>
              </a:rPr>
              <a:t>, </a:t>
            </a:r>
            <a:r>
              <a:rPr lang="en-US" dirty="0" err="1">
                <a:latin typeface="Tele-GroteskNor"/>
              </a:rPr>
              <a:t>kifejezőbb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kódot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tudtunk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írni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Kotlinban</a:t>
            </a:r>
            <a:r>
              <a:rPr lang="en-US" dirty="0">
                <a:latin typeface="Tele-GroteskNor"/>
              </a:rPr>
              <a:t>, </a:t>
            </a:r>
            <a:r>
              <a:rPr lang="en-US" dirty="0" err="1">
                <a:latin typeface="Tele-GroteskNor"/>
              </a:rPr>
              <a:t>és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csak</a:t>
            </a:r>
            <a:r>
              <a:rPr lang="en-US" dirty="0">
                <a:latin typeface="Tele-GroteskNor"/>
              </a:rPr>
              <a:t> a Spring </a:t>
            </a:r>
            <a:r>
              <a:rPr lang="en-US" dirty="0" err="1">
                <a:latin typeface="Tele-GroteskNor"/>
              </a:rPr>
              <a:t>integrációval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voltak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problémák</a:t>
            </a:r>
            <a:r>
              <a:rPr lang="en-US" dirty="0">
                <a:latin typeface="Tele-GroteskNor"/>
              </a:rPr>
              <a:t>. </a:t>
            </a:r>
            <a:r>
              <a:rPr lang="en-US" dirty="0" err="1">
                <a:latin typeface="Tele-GroteskNor"/>
              </a:rPr>
              <a:t>Korábban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még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nem</a:t>
            </a:r>
            <a:r>
              <a:rPr lang="en-US" dirty="0">
                <a:latin typeface="Tele-GroteskNor"/>
              </a:rPr>
              <a:t> volt </a:t>
            </a:r>
            <a:r>
              <a:rPr lang="en-US" dirty="0" err="1">
                <a:latin typeface="Tele-GroteskNor"/>
              </a:rPr>
              <a:t>ennyire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kiforrott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ez</a:t>
            </a:r>
            <a:r>
              <a:rPr lang="en-US" dirty="0">
                <a:latin typeface="Tele-GroteskNor"/>
              </a:rPr>
              <a:t> </a:t>
            </a:r>
            <a:r>
              <a:rPr lang="en-US" dirty="0" err="1">
                <a:latin typeface="Tele-GroteskNor"/>
              </a:rPr>
              <a:t>rész</a:t>
            </a:r>
            <a:r>
              <a:rPr lang="en-US" dirty="0">
                <a:latin typeface="Tele-GroteskNor"/>
              </a:rPr>
              <a:t>.”</a:t>
            </a:r>
            <a:endParaRPr lang="en-HU" dirty="0"/>
          </a:p>
        </p:txBody>
      </p:sp>
    </p:spTree>
    <p:extLst>
      <p:ext uri="{BB962C8B-B14F-4D97-AF65-F5344CB8AC3E}">
        <p14:creationId xmlns:p14="http://schemas.microsoft.com/office/powerpoint/2010/main" val="42050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26362">
        <p:fade/>
      </p:transition>
    </mc:Choice>
    <mc:Fallback xmlns="">
      <p:transition spd="med" advTm="126362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>
                <a:latin typeface="TeleGrotesk Headline"/>
              </a:rPr>
              <a:t>Sztori #2 – A csapat saját döntése</a:t>
            </a:r>
            <a:r>
              <a:rPr lang="en-US" dirty="0">
                <a:latin typeface="TeleGrotesk Headline"/>
              </a:rPr>
              <a:t> a Kotlin </a:t>
            </a:r>
            <a:r>
              <a:rPr lang="en-US" dirty="0" err="1">
                <a:latin typeface="TeleGrotesk Headline"/>
              </a:rPr>
              <a:t>nyelv</a:t>
            </a:r>
            <a:endParaRPr lang="hu-HU">
              <a:latin typeface="TeleGrotesk Headline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156F81A-CEE5-674F-9F39-802B8F092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4000" y="4431364"/>
            <a:ext cx="9719951" cy="753411"/>
          </a:xfrm>
        </p:spPr>
        <p:txBody>
          <a:bodyPr/>
          <a:lstStyle/>
          <a:p>
            <a:r>
              <a:rPr lang="en-US" dirty="0"/>
              <a:t>“Az </a:t>
            </a:r>
            <a:r>
              <a:rPr lang="en-US" dirty="0" err="1"/>
              <a:t>alapokat</a:t>
            </a:r>
            <a:r>
              <a:rPr lang="en-US" dirty="0"/>
              <a:t> </a:t>
            </a:r>
            <a:r>
              <a:rPr lang="en-US" dirty="0" err="1"/>
              <a:t>nagyon</a:t>
            </a:r>
            <a:r>
              <a:rPr lang="en-US" dirty="0"/>
              <a:t> </a:t>
            </a:r>
            <a:r>
              <a:rPr lang="en-US" dirty="0" err="1"/>
              <a:t>gyorsan</a:t>
            </a:r>
            <a:r>
              <a:rPr lang="en-US" dirty="0"/>
              <a:t> meg </a:t>
            </a:r>
            <a:r>
              <a:rPr lang="en-US" dirty="0" err="1"/>
              <a:t>lehetett</a:t>
            </a:r>
            <a:r>
              <a:rPr lang="en-US" dirty="0"/>
              <a:t> </a:t>
            </a:r>
            <a:r>
              <a:rPr lang="en-US" dirty="0" err="1"/>
              <a:t>tanulni</a:t>
            </a:r>
            <a:r>
              <a:rPr lang="en-US" dirty="0"/>
              <a:t>. </a:t>
            </a:r>
            <a:r>
              <a:rPr lang="en-US" dirty="0" err="1"/>
              <a:t>Nem</a:t>
            </a:r>
            <a:r>
              <a:rPr lang="en-US" dirty="0"/>
              <a:t> </a:t>
            </a:r>
            <a:r>
              <a:rPr lang="en-US" dirty="0" err="1"/>
              <a:t>jelentett</a:t>
            </a:r>
            <a:r>
              <a:rPr lang="en-US" dirty="0"/>
              <a:t> </a:t>
            </a:r>
            <a:r>
              <a:rPr lang="en-US" dirty="0" err="1"/>
              <a:t>többlet</a:t>
            </a:r>
            <a:r>
              <a:rPr lang="en-US" dirty="0"/>
              <a:t> </a:t>
            </a:r>
            <a:r>
              <a:rPr lang="en-US" dirty="0" err="1"/>
              <a:t>ráfordítást</a:t>
            </a:r>
            <a:r>
              <a:rPr lang="en-US" dirty="0"/>
              <a:t>.”</a:t>
            </a:r>
            <a:endParaRPr lang="en-HU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294967295"/>
          </p:nvPr>
        </p:nvSpPr>
        <p:spPr>
          <a:xfrm>
            <a:off x="11161713" y="5832475"/>
            <a:ext cx="360362" cy="323850"/>
          </a:xfrm>
        </p:spPr>
        <p:txBody>
          <a:bodyPr/>
          <a:lstStyle/>
          <a:p>
            <a:pPr marL="0" marR="0" lvl="0" indent="0" algn="r" defTabSz="5762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B82B61-49DC-4937-83D9-6C97F6C89D5B}" type="slidenum">
              <a:rPr kumimoji="0" lang="en-US" sz="115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 pitchFamily="2" charset="0"/>
                <a:ea typeface="+mn-ea"/>
              </a:rPr>
              <a:pPr marL="0" marR="0" lvl="0" indent="0" algn="r" defTabSz="57622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 pitchFamily="2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42220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2345">
        <p:fade/>
      </p:transition>
    </mc:Choice>
    <mc:Fallback xmlns="">
      <p:transition spd="med" advTm="32345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9" name="Rectang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/>
              <a:t>Sztori</a:t>
            </a:r>
            <a:r>
              <a:rPr lang="hu-HU">
                <a:latin typeface="+mj-lt"/>
              </a:rPr>
              <a:t> #3 – Új belépők számára a </a:t>
            </a:r>
            <a:r>
              <a:rPr lang="hu-HU" err="1">
                <a:latin typeface="+mj-lt"/>
              </a:rPr>
              <a:t>Kotlin</a:t>
            </a:r>
            <a:r>
              <a:rPr lang="hu-HU">
                <a:latin typeface="+mj-lt"/>
              </a:rPr>
              <a:t> az ajánlott nyelv</a:t>
            </a:r>
            <a:endParaRPr lang="hu-HU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294967295"/>
          </p:nvPr>
        </p:nvSpPr>
        <p:spPr>
          <a:xfrm>
            <a:off x="11161713" y="5832475"/>
            <a:ext cx="360362" cy="323850"/>
          </a:xfrm>
        </p:spPr>
        <p:txBody>
          <a:bodyPr/>
          <a:lstStyle/>
          <a:p>
            <a:pPr marL="0" marR="0" lvl="0" indent="0" algn="r" defTabSz="5762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B82B61-49DC-4937-83D9-6C97F6C89D5B}" type="slidenum">
              <a:rPr kumimoji="0" lang="en-US" sz="115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 pitchFamily="2" charset="0"/>
                <a:ea typeface="+mn-ea"/>
              </a:rPr>
              <a:pPr marL="0" marR="0" lvl="0" indent="0" algn="r" defTabSz="57622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 pitchFamily="2" charset="0"/>
              <a:ea typeface="+mn-ea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B55F78-6385-F044-845D-670FB14415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3851" y="4431364"/>
            <a:ext cx="9719951" cy="753411"/>
          </a:xfrm>
        </p:spPr>
        <p:txBody>
          <a:bodyPr/>
          <a:lstStyle/>
          <a:p>
            <a:r>
              <a:rPr lang="en-US" dirty="0"/>
              <a:t>“A </a:t>
            </a:r>
            <a:r>
              <a:rPr lang="en-US" dirty="0" err="1"/>
              <a:t>Kotlin</a:t>
            </a:r>
            <a:r>
              <a:rPr lang="en-US" dirty="0"/>
              <a:t> </a:t>
            </a:r>
            <a:r>
              <a:rPr lang="en-US" dirty="0" err="1"/>
              <a:t>nyelv</a:t>
            </a:r>
            <a:r>
              <a:rPr lang="en-US" dirty="0"/>
              <a:t> </a:t>
            </a:r>
            <a:r>
              <a:rPr lang="en-US" dirty="0" err="1"/>
              <a:t>elsajátítása</a:t>
            </a:r>
            <a:r>
              <a:rPr lang="en-US" dirty="0"/>
              <a:t> </a:t>
            </a:r>
            <a:r>
              <a:rPr lang="en-US" dirty="0" err="1"/>
              <a:t>nem</a:t>
            </a:r>
            <a:r>
              <a:rPr lang="en-US" dirty="0"/>
              <a:t> </a:t>
            </a:r>
            <a:r>
              <a:rPr lang="en-US" dirty="0" err="1"/>
              <a:t>okozott</a:t>
            </a:r>
            <a:r>
              <a:rPr lang="en-US" dirty="0"/>
              <a:t> </a:t>
            </a:r>
            <a:r>
              <a:rPr lang="en-US" dirty="0" err="1"/>
              <a:t>problémát</a:t>
            </a:r>
            <a:r>
              <a:rPr lang="en-US" dirty="0"/>
              <a:t> </a:t>
            </a:r>
            <a:r>
              <a:rPr lang="en-US" dirty="0" err="1"/>
              <a:t>csak</a:t>
            </a:r>
            <a:r>
              <a:rPr lang="en-US" dirty="0"/>
              <a:t> a Spring. A </a:t>
            </a:r>
            <a:r>
              <a:rPr lang="en-US" dirty="0" err="1"/>
              <a:t>kód</a:t>
            </a:r>
            <a:r>
              <a:rPr lang="en-US" dirty="0"/>
              <a:t> </a:t>
            </a:r>
            <a:r>
              <a:rPr lang="en-US" dirty="0" err="1"/>
              <a:t>formázottsága</a:t>
            </a:r>
            <a:r>
              <a:rPr lang="en-US" dirty="0"/>
              <a:t> </a:t>
            </a:r>
            <a:r>
              <a:rPr lang="en-US" dirty="0" err="1"/>
              <a:t>nagyon</a:t>
            </a:r>
            <a:r>
              <a:rPr lang="en-US" dirty="0"/>
              <a:t> </a:t>
            </a:r>
            <a:r>
              <a:rPr lang="en-US" dirty="0" err="1"/>
              <a:t>jó</a:t>
            </a:r>
            <a:r>
              <a:rPr lang="en-US" dirty="0"/>
              <a:t>.”</a:t>
            </a:r>
            <a:endParaRPr lang="en-HU" dirty="0"/>
          </a:p>
        </p:txBody>
      </p:sp>
    </p:spTree>
    <p:extLst>
      <p:ext uri="{BB962C8B-B14F-4D97-AF65-F5344CB8AC3E}">
        <p14:creationId xmlns:p14="http://schemas.microsoft.com/office/powerpoint/2010/main" val="33648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9" name="Rectangle 3"/>
          <p:cNvSpPr>
            <a:spLocks noGrp="1"/>
          </p:cNvSpPr>
          <p:nvPr>
            <p:ph type="ctrTitle"/>
          </p:nvPr>
        </p:nvSpPr>
        <p:spPr/>
        <p:txBody>
          <a:bodyPr wrap="square" anchor="t">
            <a:normAutofit/>
          </a:bodyPr>
          <a:lstStyle/>
          <a:p>
            <a:r>
              <a:rPr lang="hu-HU" dirty="0"/>
              <a:t>Sztori</a:t>
            </a:r>
            <a:r>
              <a:rPr lang="hu-HU"/>
              <a:t> #4 – Java és </a:t>
            </a:r>
            <a:r>
              <a:rPr lang="hu-HU" dirty="0" err="1"/>
              <a:t>Kotlin</a:t>
            </a:r>
            <a:r>
              <a:rPr lang="hu-HU"/>
              <a:t> együttes használat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748298-64B8-DC48-9220-3F385D95D1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3851" y="4431364"/>
            <a:ext cx="9719951" cy="753411"/>
          </a:xfrm>
        </p:spPr>
        <p:txBody>
          <a:bodyPr/>
          <a:lstStyle/>
          <a:p>
            <a:r>
              <a:rPr lang="en-US" dirty="0"/>
              <a:t>“Az Extension functions és a Safe call </a:t>
            </a:r>
            <a:r>
              <a:rPr lang="en-US" dirty="0" err="1"/>
              <a:t>képességek</a:t>
            </a:r>
            <a:r>
              <a:rPr lang="en-US" dirty="0"/>
              <a:t> </a:t>
            </a:r>
            <a:r>
              <a:rPr lang="en-US" dirty="0" err="1"/>
              <a:t>miatt</a:t>
            </a:r>
            <a:r>
              <a:rPr lang="en-US" dirty="0"/>
              <a:t> </a:t>
            </a:r>
            <a:r>
              <a:rPr lang="en-US" dirty="0" err="1"/>
              <a:t>szívesebben</a:t>
            </a:r>
            <a:r>
              <a:rPr lang="en-US" dirty="0"/>
              <a:t> </a:t>
            </a:r>
            <a:r>
              <a:rPr lang="en-US" dirty="0" err="1"/>
              <a:t>használom</a:t>
            </a:r>
            <a:r>
              <a:rPr lang="en-US" dirty="0"/>
              <a:t> a </a:t>
            </a:r>
            <a:r>
              <a:rPr lang="en-US" dirty="0" err="1"/>
              <a:t>Kotlin</a:t>
            </a:r>
            <a:r>
              <a:rPr lang="en-US" dirty="0"/>
              <a:t> </a:t>
            </a:r>
            <a:r>
              <a:rPr lang="en-US" dirty="0" err="1"/>
              <a:t>nyelvet</a:t>
            </a:r>
            <a:r>
              <a:rPr lang="en-US" dirty="0"/>
              <a:t>.”</a:t>
            </a:r>
            <a:endParaRPr lang="en-HU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294967295"/>
          </p:nvPr>
        </p:nvSpPr>
        <p:spPr>
          <a:xfrm>
            <a:off x="11161713" y="5832475"/>
            <a:ext cx="360362" cy="323850"/>
          </a:xfrm>
        </p:spPr>
        <p:txBody>
          <a:bodyPr wrap="square" anchor="ctr">
            <a:normAutofit/>
          </a:bodyPr>
          <a:lstStyle/>
          <a:p>
            <a:pPr marL="0" marR="0" lvl="0" indent="0" defTabSz="576226" rtl="0" eaLnBrk="1" fontAlgn="auto" latinLnBrk="0" hangingPunct="1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5B82B61-49DC-4937-83D9-6C97F6C89D5B}" type="slidenum">
              <a:rPr kumimoji="0" lang="en-US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576226" rtl="0" eaLnBrk="1" fontAlgn="auto" latinLnBrk="0" hangingPunct="1"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0121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7AAC9C-AF48-E645-9AF6-FEC93284A6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otlin</a:t>
            </a:r>
            <a:r>
              <a:rPr lang="en-US" dirty="0"/>
              <a:t> </a:t>
            </a:r>
            <a:r>
              <a:rPr lang="en-US" dirty="0" err="1"/>
              <a:t>használatának</a:t>
            </a:r>
            <a:r>
              <a:rPr lang="en-US" dirty="0"/>
              <a:t> </a:t>
            </a:r>
            <a:r>
              <a:rPr lang="en-US" dirty="0" err="1"/>
              <a:t>elönyei</a:t>
            </a:r>
            <a:r>
              <a:rPr lang="en-US" dirty="0"/>
              <a:t> és </a:t>
            </a:r>
            <a:r>
              <a:rPr lang="en-US" dirty="0" err="1"/>
              <a:t>hátrányai</a:t>
            </a:r>
            <a:endParaRPr lang="en-H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F646A5-323D-F54F-A737-A2B55DE5660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ü"/>
            </a:pPr>
            <a:r>
              <a:rPr lang="en-US">
                <a:latin typeface="Tele-GroteskFet"/>
              </a:rPr>
              <a:t>Teljesen kompatibilis a Java-val,</a:t>
            </a:r>
            <a:endParaRPr lang="en-US" dirty="0">
              <a:latin typeface="Tele-GroteskFet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>
                <a:latin typeface="Tele-GroteskFet"/>
              </a:rPr>
              <a:t>Extension functions and properties,</a:t>
            </a:r>
            <a:endParaRPr lang="en-US" dirty="0">
              <a:latin typeface="Tele-GroteskFet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>
                <a:latin typeface="Tele-GroteskFet"/>
              </a:rPr>
              <a:t>Safe calls (??, !!),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>
                <a:latin typeface="Tele-GroteskFet"/>
              </a:rPr>
              <a:t>Single expression functions,</a:t>
            </a:r>
            <a:endParaRPr lang="en-US" dirty="0">
              <a:latin typeface="Tele-GroteskFet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>
                <a:latin typeface="Tele-GroteskFet"/>
              </a:rPr>
              <a:t>String templates ($, {}, .length, …),</a:t>
            </a:r>
            <a:endParaRPr lang="en-US" dirty="0">
              <a:latin typeface="Tele-GroteskFet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>
                <a:latin typeface="Tele-GroteskFet"/>
              </a:rPr>
              <a:t>Type alias (mapper logika),</a:t>
            </a:r>
            <a:endParaRPr lang="en-US" dirty="0">
              <a:latin typeface="Tele-GroteskFet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>
                <a:latin typeface="Tele-GroteskFet"/>
              </a:rPr>
              <a:t>Intelligens when statements,</a:t>
            </a:r>
            <a:endParaRPr lang="en-US" dirty="0">
              <a:latin typeface="Tele-GroteskFet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>
                <a:latin typeface="Tele-GroteskFet"/>
              </a:rPr>
              <a:t>Reflection.</a:t>
            </a:r>
            <a:endParaRPr lang="en-US" dirty="0"/>
          </a:p>
          <a:p>
            <a:r>
              <a:rPr lang="en-US">
                <a:latin typeface="Tele-GroteskFet"/>
              </a:rPr>
              <a:t>"Kompakt kód, jó minőség, nagy szabadság."</a:t>
            </a:r>
            <a:endParaRPr lang="en-US" dirty="0"/>
          </a:p>
          <a:p>
            <a:pPr marL="285750" indent="-285750">
              <a:buFont typeface="Wingdings" pitchFamily="2" charset="2"/>
              <a:buChar char="ü"/>
            </a:pPr>
            <a:endParaRPr lang="en-US" dirty="0"/>
          </a:p>
          <a:p>
            <a:pPr marL="285750" indent="-285750">
              <a:buFont typeface="Wingdings" pitchFamily="2" charset="2"/>
              <a:buChar char="ü"/>
            </a:pPr>
            <a:endParaRPr lang="en-US" dirty="0"/>
          </a:p>
          <a:p>
            <a:pPr marL="285750" indent="-285750">
              <a:buFont typeface="Wingdings" pitchFamily="2" charset="2"/>
              <a:buChar char="ü"/>
            </a:pPr>
            <a:endParaRPr lang="en-US" dirty="0"/>
          </a:p>
          <a:p>
            <a:pPr marL="285750" indent="-285750">
              <a:buFont typeface="Wingdings" pitchFamily="2" charset="2"/>
              <a:buChar char="ü"/>
            </a:pPr>
            <a:endParaRPr lang="en-H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1AB169-FFC4-F840-BE5F-0CA13AB44AB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en-US" dirty="0">
                <a:latin typeface="Tele-GroteskFet"/>
              </a:rPr>
              <a:t>Gradle + Kotlin </a:t>
            </a:r>
            <a:r>
              <a:rPr lang="en-US">
                <a:latin typeface="Tele-GroteskFet"/>
              </a:rPr>
              <a:t>nehézkes,</a:t>
            </a:r>
            <a:endParaRPr lang="hu-HU"/>
          </a:p>
          <a:p>
            <a:pPr marL="285750" indent="-285750">
              <a:buFontTx/>
              <a:buChar char="-"/>
            </a:pPr>
            <a:r>
              <a:rPr lang="en-US">
                <a:latin typeface="Tele-GroteskFet"/>
              </a:rPr>
              <a:t>Data class öröklődési probléma,</a:t>
            </a:r>
            <a:endParaRPr lang="en-US" dirty="0">
              <a:latin typeface="Tele-GroteskFet"/>
            </a:endParaRPr>
          </a:p>
          <a:p>
            <a:pPr marL="285750" indent="-285750">
              <a:buFontTx/>
              <a:buChar char="-"/>
            </a:pPr>
            <a:r>
              <a:rPr lang="en-US">
                <a:latin typeface="Tele-GroteskFet"/>
              </a:rPr>
              <a:t>“Googling stackoverflow” kevésbé alkalmazható (IDE támogatás),</a:t>
            </a:r>
            <a:endParaRPr lang="hu-HU">
              <a:latin typeface="Tele-GroteskFet"/>
            </a:endParaRPr>
          </a:p>
          <a:p>
            <a:pPr marL="285750" indent="-285750">
              <a:buFontTx/>
              <a:buChar char="-"/>
            </a:pPr>
            <a:r>
              <a:rPr lang="en-US" err="1">
                <a:latin typeface="Tele-GroteskFet"/>
              </a:rPr>
              <a:t>Kód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generátorok</a:t>
            </a:r>
            <a:r>
              <a:rPr lang="en-US" dirty="0">
                <a:latin typeface="Tele-GroteskFet"/>
              </a:rPr>
              <a:t> </a:t>
            </a:r>
            <a:r>
              <a:rPr lang="en-US" err="1">
                <a:latin typeface="Tele-GroteskFet"/>
              </a:rPr>
              <a:t>még</a:t>
            </a:r>
            <a:r>
              <a:rPr lang="en-US" dirty="0">
                <a:latin typeface="Tele-GroteskFet"/>
              </a:rPr>
              <a:t> </a:t>
            </a:r>
            <a:r>
              <a:rPr lang="en-US">
                <a:latin typeface="Tele-GroteskFet"/>
              </a:rPr>
              <a:t>hiányosak és hibásak, (Avro schema, Swagger),</a:t>
            </a:r>
            <a:endParaRPr lang="en-US" dirty="0">
              <a:latin typeface="Tele-GroteskFet"/>
            </a:endParaRPr>
          </a:p>
          <a:p>
            <a:pPr marL="285750" indent="-285750">
              <a:buFontTx/>
              <a:buChar char="-"/>
            </a:pPr>
            <a:r>
              <a:rPr lang="en-US">
                <a:latin typeface="Tele-GroteskFet"/>
              </a:rPr>
              <a:t>Teszt lefedettség mérése odafigyelést igényel (IDE támogatás).</a:t>
            </a:r>
            <a:endParaRPr lang="en-US" dirty="0">
              <a:latin typeface="Tele-GroteskFet"/>
            </a:endParaRPr>
          </a:p>
          <a:p>
            <a:pPr>
              <a:buFontTx/>
            </a:pPr>
            <a:endParaRPr lang="en-US" dirty="0">
              <a:latin typeface="Tele-GroteskFet"/>
            </a:endParaRPr>
          </a:p>
          <a:p>
            <a:pPr>
              <a:buFontTx/>
            </a:pPr>
            <a:r>
              <a:rPr lang="en-US">
                <a:latin typeface="Tele-GroteskFet"/>
              </a:rPr>
              <a:t>"A nagyobb szabadság nagyobb felelőséget is követel."</a:t>
            </a:r>
            <a:endParaRPr lang="en-US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endParaRPr lang="en-HU" dirty="0"/>
          </a:p>
        </p:txBody>
      </p:sp>
    </p:spTree>
    <p:extLst>
      <p:ext uri="{BB962C8B-B14F-4D97-AF65-F5344CB8AC3E}">
        <p14:creationId xmlns:p14="http://schemas.microsoft.com/office/powerpoint/2010/main" val="1353455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9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Extension functions</a:t>
            </a: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5762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B82B61-49DC-4937-83D9-6C97F6C89D5B}" type="slidenum">
              <a:rPr kumimoji="0" lang="en-US" sz="115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 pitchFamily="2" charset="0"/>
                <a:ea typeface="+mn-ea"/>
              </a:rPr>
              <a:pPr marL="0" marR="0" lvl="0" indent="0" algn="r" defTabSz="57622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 pitchFamily="2" charset="0"/>
              <a:ea typeface="+mn-e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22DD7C-2DFE-324B-A732-652C147C2C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085" y="1317662"/>
            <a:ext cx="11347904" cy="3844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14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9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>
                <a:latin typeface="TeleGrotesk Headline"/>
              </a:rPr>
              <a:t>String</a:t>
            </a:r>
            <a:r>
              <a:rPr lang="hu-HU" dirty="0">
                <a:latin typeface="TeleGrotesk Headline"/>
              </a:rPr>
              <a:t> </a:t>
            </a:r>
            <a:r>
              <a:rPr lang="hu-HU" dirty="0" err="1">
                <a:latin typeface="TeleGrotesk Headline"/>
              </a:rPr>
              <a:t>functions</a:t>
            </a:r>
            <a:r>
              <a:rPr lang="hu-HU" dirty="0">
                <a:latin typeface="TeleGrotesk Headline"/>
              </a:rPr>
              <a:t> + Intelligens </a:t>
            </a:r>
            <a:r>
              <a:rPr lang="hu-HU" dirty="0" err="1">
                <a:latin typeface="TeleGrotesk Headline"/>
              </a:rPr>
              <a:t>when</a:t>
            </a:r>
            <a:endParaRPr lang="hu-HU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57622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B82B61-49DC-4937-83D9-6C97F6C89D5B}" type="slidenum">
              <a:rPr kumimoji="0" lang="en-US" sz="115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 pitchFamily="2" charset="0"/>
                <a:ea typeface="+mn-ea"/>
              </a:rPr>
              <a:pPr marL="0" marR="0" lvl="0" indent="0" algn="r" defTabSz="57622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 pitchFamily="2" charset="0"/>
              <a:ea typeface="+mn-ea"/>
            </a:endParaRPr>
          </a:p>
        </p:txBody>
      </p:sp>
      <p:sp>
        <p:nvSpPr>
          <p:cNvPr id="2" name="Szövegdoboz 1">
            <a:extLst>
              <a:ext uri="{FF2B5EF4-FFF2-40B4-BE49-F238E27FC236}">
                <a16:creationId xmlns:a16="http://schemas.microsoft.com/office/drawing/2014/main" id="{E9DD9EA4-4734-48B5-B172-75771B2B5EE4}"/>
              </a:ext>
            </a:extLst>
          </p:cNvPr>
          <p:cNvSpPr txBox="1"/>
          <p:nvPr/>
        </p:nvSpPr>
        <p:spPr bwMode="gray">
          <a:xfrm>
            <a:off x="165816" y="1179876"/>
            <a:ext cx="6900444" cy="42664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>
              <a:latin typeface="Tele-GroteskNor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E8F905-F2BC-014E-9F8C-DD025F1111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0814" y="709148"/>
            <a:ext cx="6900445" cy="5061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28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EN_20161118" id="{988561D7-E1CF-44CF-B77A-D58001B57885}" vid="{DFDB66BC-47E0-4C43-B872-835F8862F30C}"/>
    </a:ext>
  </a:extLst>
</a:theme>
</file>

<file path=ppt/theme/theme2.xml><?xml version="1.0" encoding="utf-8"?>
<a:theme xmlns:a="http://schemas.openxmlformats.org/drawingml/2006/main" name="1_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EN_20161118" id="{988561D7-E1CF-44CF-B77A-D58001B57885}" vid="{DFDB66BC-47E0-4C43-B872-835F8862F30C}"/>
    </a:ext>
  </a:extLst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5e806c6-b802-406d-b5d7-d6bc1146344d">
      <UserInfo>
        <DisplayName>Major Balázs</DisplayName>
        <AccountId>11</AccountId>
        <AccountType/>
      </UserInfo>
      <UserInfo>
        <DisplayName>Petrényi Zoltán</DisplayName>
        <AccountId>31</AccountId>
        <AccountType/>
      </UserInfo>
      <UserInfo>
        <DisplayName>Domby Tímea Katalin</DisplayName>
        <AccountId>25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295D2289351D4AB2E09D50B83FA4C4" ma:contentTypeVersion="10" ma:contentTypeDescription="Create a new document." ma:contentTypeScope="" ma:versionID="2fbac1f368649aae4f7cf307ea2b0dd4">
  <xsd:schema xmlns:xsd="http://www.w3.org/2001/XMLSchema" xmlns:xs="http://www.w3.org/2001/XMLSchema" xmlns:p="http://schemas.microsoft.com/office/2006/metadata/properties" xmlns:ns2="9dfa0ecf-30e1-456a-9367-1d81f69cdcaf" xmlns:ns3="c5e806c6-b802-406d-b5d7-d6bc1146344d" targetNamespace="http://schemas.microsoft.com/office/2006/metadata/properties" ma:root="true" ma:fieldsID="59bc0d5098399a9db9f896f276644505" ns2:_="" ns3:_="">
    <xsd:import namespace="9dfa0ecf-30e1-456a-9367-1d81f69cdcaf"/>
    <xsd:import namespace="c5e806c6-b802-406d-b5d7-d6bc1146344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fa0ecf-30e1-456a-9367-1d81f69cdc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e806c6-b802-406d-b5d7-d6bc1146344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A535A0C-1583-42D1-8ACA-CBC33BBEE39A}">
  <ds:schemaRefs>
    <ds:schemaRef ds:uri="http://schemas.microsoft.com/office/2006/metadata/properties"/>
    <ds:schemaRef ds:uri="http://www.w3.org/2000/xmlns/"/>
    <ds:schemaRef ds:uri="c5e806c6-b802-406d-b5d7-d6bc1146344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709A2FC-66CF-4C3B-A42B-C84F52ABEC1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30BB258-3FE9-4F2B-9F9F-6F079BB72D13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9dfa0ecf-30e1-456a-9367-1d81f69cdcaf"/>
    <ds:schemaRef ds:uri="c5e806c6-b802-406d-b5d7-d6bc1146344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16-9_EN_20161201</Template>
  <TotalTime>0</TotalTime>
  <Words>1281</Words>
  <Application>Microsoft Macintosh PowerPoint</Application>
  <PresentationFormat>Custom</PresentationFormat>
  <Paragraphs>179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Arial</vt:lpstr>
      <vt:lpstr>Consolas</vt:lpstr>
      <vt:lpstr>Tele-GroteskFet</vt:lpstr>
      <vt:lpstr>Tele-GroteskNor</vt:lpstr>
      <vt:lpstr>Tele-GroteskUlt</vt:lpstr>
      <vt:lpstr>TeleGrotesk Headline</vt:lpstr>
      <vt:lpstr>TeleGrotesk Headline Ultra</vt:lpstr>
      <vt:lpstr>Wingdings</vt:lpstr>
      <vt:lpstr>Wingdings 2</vt:lpstr>
      <vt:lpstr>Telekom 16:9 2016 EN</vt:lpstr>
      <vt:lpstr>1_Telekom 16:9 2016 EN</vt:lpstr>
      <vt:lpstr>think-cell Folie</vt:lpstr>
      <vt:lpstr>A nagy Kotlin sztori avagy hogyan lehet a Kotlin nyelvet backend fejlesztésben hatékonyan alkalmazni</vt:lpstr>
      <vt:lpstr>Bemutatkozás</vt:lpstr>
      <vt:lpstr>Sztori #1 – A kezdetek</vt:lpstr>
      <vt:lpstr>Sztori #2 – A csapat saját döntése a Kotlin nyelv</vt:lpstr>
      <vt:lpstr>Sztori #3 – Új belépők számára a Kotlin az ajánlott nyelv</vt:lpstr>
      <vt:lpstr>Sztori #4 – Java és Kotlin együttes használata</vt:lpstr>
      <vt:lpstr>Kotlin használatának elönyei és hátrányai</vt:lpstr>
      <vt:lpstr>Extension functions</vt:lpstr>
      <vt:lpstr>String functions + Intelligens when</vt:lpstr>
      <vt:lpstr>Null safety</vt:lpstr>
      <vt:lpstr>Kotlin ecosystem és eszközök</vt:lpstr>
      <vt:lpstr>Köszönöm a figyelme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ava Development Chapters Ongoing tasks</dc:title>
  <dc:creator/>
  <cp:lastModifiedBy>Major Balázs</cp:lastModifiedBy>
  <cp:revision>2475</cp:revision>
  <dcterms:created xsi:type="dcterms:W3CDTF">2016-12-02T13:42:48Z</dcterms:created>
  <dcterms:modified xsi:type="dcterms:W3CDTF">2021-06-07T14:2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0295D2289351D4AB2E09D50B83FA4C4</vt:lpwstr>
  </property>
</Properties>
</file>